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sldIdLst>
    <p:sldId id="256" r:id="rId2"/>
    <p:sldId id="332" r:id="rId3"/>
    <p:sldId id="312" r:id="rId4"/>
    <p:sldId id="273" r:id="rId5"/>
    <p:sldId id="333" r:id="rId6"/>
    <p:sldId id="334" r:id="rId7"/>
    <p:sldId id="335" r:id="rId8"/>
    <p:sldId id="336" r:id="rId9"/>
    <p:sldId id="337" r:id="rId10"/>
    <p:sldId id="338" r:id="rId11"/>
    <p:sldId id="350" r:id="rId12"/>
    <p:sldId id="342" r:id="rId13"/>
    <p:sldId id="340" r:id="rId14"/>
    <p:sldId id="344" r:id="rId15"/>
    <p:sldId id="345" r:id="rId16"/>
    <p:sldId id="347" r:id="rId17"/>
    <p:sldId id="349" r:id="rId18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E1CB2B-ED93-498B-9977-258471074ACD}" v="1171" dt="2021-01-13T13:14:49.1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4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이 지상" userId="52e16c35b1c96571" providerId="LiveId" clId="{7300C73E-AFAE-4B36-A546-DABD5660E6B7}"/>
    <pc:docChg chg="undo custSel mod addSld delSld modSld sldOrd modMainMaster">
      <pc:chgData name="이 지상" userId="52e16c35b1c96571" providerId="LiveId" clId="{7300C73E-AFAE-4B36-A546-DABD5660E6B7}" dt="2021-01-06T13:34:23.003" v="6582" actId="20577"/>
      <pc:docMkLst>
        <pc:docMk/>
      </pc:docMkLst>
      <pc:sldChg chg="del">
        <pc:chgData name="이 지상" userId="52e16c35b1c96571" providerId="LiveId" clId="{7300C73E-AFAE-4B36-A546-DABD5660E6B7}" dt="2021-01-06T11:58:10.470" v="1" actId="2696"/>
        <pc:sldMkLst>
          <pc:docMk/>
          <pc:sldMk cId="3125704070" sldId="256"/>
        </pc:sldMkLst>
      </pc:sldChg>
      <pc:sldChg chg="del">
        <pc:chgData name="이 지상" userId="52e16c35b1c96571" providerId="LiveId" clId="{7300C73E-AFAE-4B36-A546-DABD5660E6B7}" dt="2021-01-06T11:58:07.315" v="0" actId="2696"/>
        <pc:sldMkLst>
          <pc:docMk/>
          <pc:sldMk cId="206870371" sldId="257"/>
        </pc:sldMkLst>
      </pc:sldChg>
      <pc:sldChg chg="del">
        <pc:chgData name="이 지상" userId="52e16c35b1c96571" providerId="LiveId" clId="{7300C73E-AFAE-4B36-A546-DABD5660E6B7}" dt="2021-01-06T13:29:59.551" v="5558" actId="2696"/>
        <pc:sldMkLst>
          <pc:docMk/>
          <pc:sldMk cId="1322796649" sldId="258"/>
        </pc:sldMkLst>
      </pc:sldChg>
      <pc:sldChg chg="del">
        <pc:chgData name="이 지상" userId="52e16c35b1c96571" providerId="LiveId" clId="{7300C73E-AFAE-4B36-A546-DABD5660E6B7}" dt="2021-01-06T13:30:00.310" v="5559" actId="2696"/>
        <pc:sldMkLst>
          <pc:docMk/>
          <pc:sldMk cId="1766972951" sldId="260"/>
        </pc:sldMkLst>
      </pc:sldChg>
      <pc:sldChg chg="del">
        <pc:chgData name="이 지상" userId="52e16c35b1c96571" providerId="LiveId" clId="{7300C73E-AFAE-4B36-A546-DABD5660E6B7}" dt="2021-01-06T13:30:02.368" v="5560" actId="2696"/>
        <pc:sldMkLst>
          <pc:docMk/>
          <pc:sldMk cId="2722027405" sldId="261"/>
        </pc:sldMkLst>
      </pc:sldChg>
      <pc:sldChg chg="modSp mod">
        <pc:chgData name="이 지상" userId="52e16c35b1c96571" providerId="LiveId" clId="{7300C73E-AFAE-4B36-A546-DABD5660E6B7}" dt="2021-01-06T12:03:37.344" v="21" actId="20577"/>
        <pc:sldMkLst>
          <pc:docMk/>
          <pc:sldMk cId="3816871195" sldId="262"/>
        </pc:sldMkLst>
        <pc:spChg chg="mod">
          <ac:chgData name="이 지상" userId="52e16c35b1c96571" providerId="LiveId" clId="{7300C73E-AFAE-4B36-A546-DABD5660E6B7}" dt="2021-01-06T12:03:37.344" v="21" actId="20577"/>
          <ac:spMkLst>
            <pc:docMk/>
            <pc:sldMk cId="3816871195" sldId="262"/>
            <ac:spMk id="6" creationId="{28D1B46C-2EB8-40C4-B685-0D3D2654920E}"/>
          </ac:spMkLst>
        </pc:spChg>
      </pc:sldChg>
      <pc:sldChg chg="addSp delSp modSp mod setBg">
        <pc:chgData name="이 지상" userId="52e16c35b1c96571" providerId="LiveId" clId="{7300C73E-AFAE-4B36-A546-DABD5660E6B7}" dt="2021-01-06T13:11:29.780" v="5038" actId="1076"/>
        <pc:sldMkLst>
          <pc:docMk/>
          <pc:sldMk cId="828816942" sldId="263"/>
        </pc:sldMkLst>
        <pc:spChg chg="del mod">
          <ac:chgData name="이 지상" userId="52e16c35b1c96571" providerId="LiveId" clId="{7300C73E-AFAE-4B36-A546-DABD5660E6B7}" dt="2021-01-06T13:06:11.289" v="4520" actId="478"/>
          <ac:spMkLst>
            <pc:docMk/>
            <pc:sldMk cId="828816942" sldId="263"/>
            <ac:spMk id="2" creationId="{6E6A1BCC-AE22-47CD-9C53-13B20769795B}"/>
          </ac:spMkLst>
        </pc:spChg>
        <pc:spChg chg="add del mod">
          <ac:chgData name="이 지상" userId="52e16c35b1c96571" providerId="LiveId" clId="{7300C73E-AFAE-4B36-A546-DABD5660E6B7}" dt="2021-01-06T13:10:59.747" v="5035" actId="20577"/>
          <ac:spMkLst>
            <pc:docMk/>
            <pc:sldMk cId="828816942" sldId="263"/>
            <ac:spMk id="3" creationId="{A055257D-8CB8-44B7-9E2F-F52E6D25BFB4}"/>
          </ac:spMkLst>
        </pc:spChg>
        <pc:spChg chg="add del">
          <ac:chgData name="이 지상" userId="52e16c35b1c96571" providerId="LiveId" clId="{7300C73E-AFAE-4B36-A546-DABD5660E6B7}" dt="2021-01-06T13:05:31.575" v="4518" actId="26606"/>
          <ac:spMkLst>
            <pc:docMk/>
            <pc:sldMk cId="828816942" sldId="263"/>
            <ac:spMk id="9" creationId="{98AC4884-2608-44FE-A6F9-332328F653AE}"/>
          </ac:spMkLst>
        </pc:spChg>
        <pc:picChg chg="add del mod ord">
          <ac:chgData name="이 지상" userId="52e16c35b1c96571" providerId="LiveId" clId="{7300C73E-AFAE-4B36-A546-DABD5660E6B7}" dt="2021-01-06T13:05:31.755" v="4519" actId="22"/>
          <ac:picMkLst>
            <pc:docMk/>
            <pc:sldMk cId="828816942" sldId="263"/>
            <ac:picMk id="5" creationId="{698181B8-94E7-4589-9522-97EDE821C1CB}"/>
          </ac:picMkLst>
        </pc:picChg>
        <pc:picChg chg="add mod">
          <ac:chgData name="이 지상" userId="52e16c35b1c96571" providerId="LiveId" clId="{7300C73E-AFAE-4B36-A546-DABD5660E6B7}" dt="2021-01-06T13:11:29.780" v="5038" actId="1076"/>
          <ac:picMkLst>
            <pc:docMk/>
            <pc:sldMk cId="828816942" sldId="263"/>
            <ac:picMk id="7" creationId="{83B76159-2E4A-4989-AA36-073577AA7EDB}"/>
          </ac:picMkLst>
        </pc:picChg>
      </pc:sldChg>
      <pc:sldChg chg="modSp mod">
        <pc:chgData name="이 지상" userId="52e16c35b1c96571" providerId="LiveId" clId="{7300C73E-AFAE-4B36-A546-DABD5660E6B7}" dt="2021-01-06T12:30:10.770" v="2357" actId="14100"/>
        <pc:sldMkLst>
          <pc:docMk/>
          <pc:sldMk cId="1599807420" sldId="264"/>
        </pc:sldMkLst>
        <pc:spChg chg="mod">
          <ac:chgData name="이 지상" userId="52e16c35b1c96571" providerId="LiveId" clId="{7300C73E-AFAE-4B36-A546-DABD5660E6B7}" dt="2021-01-06T12:30:10.770" v="2357" actId="14100"/>
          <ac:spMkLst>
            <pc:docMk/>
            <pc:sldMk cId="1599807420" sldId="264"/>
            <ac:spMk id="2" creationId="{B8F1E1AA-2C98-4EEC-8DFB-F1E0974AE2E3}"/>
          </ac:spMkLst>
        </pc:spChg>
      </pc:sldChg>
      <pc:sldChg chg="addSp delSp modSp new mod">
        <pc:chgData name="이 지상" userId="52e16c35b1c96571" providerId="LiveId" clId="{7300C73E-AFAE-4B36-A546-DABD5660E6B7}" dt="2021-01-06T12:13:52.095" v="644" actId="20577"/>
        <pc:sldMkLst>
          <pc:docMk/>
          <pc:sldMk cId="2707488931" sldId="265"/>
        </pc:sldMkLst>
        <pc:spChg chg="del">
          <ac:chgData name="이 지상" userId="52e16c35b1c96571" providerId="LiveId" clId="{7300C73E-AFAE-4B36-A546-DABD5660E6B7}" dt="2021-01-06T12:13:04.117" v="562" actId="478"/>
          <ac:spMkLst>
            <pc:docMk/>
            <pc:sldMk cId="2707488931" sldId="265"/>
            <ac:spMk id="2" creationId="{DA4CBB78-C8DF-4D24-A55C-E1A02252C58E}"/>
          </ac:spMkLst>
        </pc:spChg>
        <pc:spChg chg="mod">
          <ac:chgData name="이 지상" userId="52e16c35b1c96571" providerId="LiveId" clId="{7300C73E-AFAE-4B36-A546-DABD5660E6B7}" dt="2021-01-06T12:13:52.095" v="644" actId="20577"/>
          <ac:spMkLst>
            <pc:docMk/>
            <pc:sldMk cId="2707488931" sldId="265"/>
            <ac:spMk id="3" creationId="{B28E5272-AEF7-4B8E-AC44-8D8E0E28DCF6}"/>
          </ac:spMkLst>
        </pc:spChg>
        <pc:spChg chg="add del">
          <ac:chgData name="이 지상" userId="52e16c35b1c96571" providerId="LiveId" clId="{7300C73E-AFAE-4B36-A546-DABD5660E6B7}" dt="2021-01-06T12:10:16.660" v="438"/>
          <ac:spMkLst>
            <pc:docMk/>
            <pc:sldMk cId="2707488931" sldId="265"/>
            <ac:spMk id="4" creationId="{28C12925-516A-40F6-9B60-877C3CE51278}"/>
          </ac:spMkLst>
        </pc:spChg>
        <pc:spChg chg="add del">
          <ac:chgData name="이 지상" userId="52e16c35b1c96571" providerId="LiveId" clId="{7300C73E-AFAE-4B36-A546-DABD5660E6B7}" dt="2021-01-06T12:10:27.227" v="449"/>
          <ac:spMkLst>
            <pc:docMk/>
            <pc:sldMk cId="2707488931" sldId="265"/>
            <ac:spMk id="5" creationId="{8D33AA28-8397-4CDB-BA50-3F05B8FF30BC}"/>
          </ac:spMkLst>
        </pc:spChg>
        <pc:picChg chg="add mod">
          <ac:chgData name="이 지상" userId="52e16c35b1c96571" providerId="LiveId" clId="{7300C73E-AFAE-4B36-A546-DABD5660E6B7}" dt="2021-01-06T12:13:13.965" v="564" actId="1076"/>
          <ac:picMkLst>
            <pc:docMk/>
            <pc:sldMk cId="2707488931" sldId="265"/>
            <ac:picMk id="7" creationId="{005BBC4C-35FA-499A-A3C8-D6C4A9485024}"/>
          </ac:picMkLst>
        </pc:picChg>
      </pc:sldChg>
      <pc:sldChg chg="modSp new mod">
        <pc:chgData name="이 지상" userId="52e16c35b1c96571" providerId="LiveId" clId="{7300C73E-AFAE-4B36-A546-DABD5660E6B7}" dt="2021-01-06T12:22:46.313" v="1460" actId="20577"/>
        <pc:sldMkLst>
          <pc:docMk/>
          <pc:sldMk cId="1298320984" sldId="266"/>
        </pc:sldMkLst>
        <pc:spChg chg="mod">
          <ac:chgData name="이 지상" userId="52e16c35b1c96571" providerId="LiveId" clId="{7300C73E-AFAE-4B36-A546-DABD5660E6B7}" dt="2021-01-06T12:17:32.409" v="845"/>
          <ac:spMkLst>
            <pc:docMk/>
            <pc:sldMk cId="1298320984" sldId="266"/>
            <ac:spMk id="2" creationId="{95E524D1-0939-44A4-AE66-56A326DE930E}"/>
          </ac:spMkLst>
        </pc:spChg>
        <pc:spChg chg="mod">
          <ac:chgData name="이 지상" userId="52e16c35b1c96571" providerId="LiveId" clId="{7300C73E-AFAE-4B36-A546-DABD5660E6B7}" dt="2021-01-06T12:22:46.313" v="1460" actId="20577"/>
          <ac:spMkLst>
            <pc:docMk/>
            <pc:sldMk cId="1298320984" sldId="266"/>
            <ac:spMk id="3" creationId="{E64EB369-CF5A-4559-B7C3-DCB78EE2326A}"/>
          </ac:spMkLst>
        </pc:spChg>
      </pc:sldChg>
      <pc:sldChg chg="modSp new mod">
        <pc:chgData name="이 지상" userId="52e16c35b1c96571" providerId="LiveId" clId="{7300C73E-AFAE-4B36-A546-DABD5660E6B7}" dt="2021-01-06T12:28:24.511" v="2287" actId="20577"/>
        <pc:sldMkLst>
          <pc:docMk/>
          <pc:sldMk cId="443975578" sldId="267"/>
        </pc:sldMkLst>
        <pc:spChg chg="mod">
          <ac:chgData name="이 지상" userId="52e16c35b1c96571" providerId="LiveId" clId="{7300C73E-AFAE-4B36-A546-DABD5660E6B7}" dt="2021-01-06T12:23:19.359" v="1515"/>
          <ac:spMkLst>
            <pc:docMk/>
            <pc:sldMk cId="443975578" sldId="267"/>
            <ac:spMk id="2" creationId="{EDE32983-9D3F-49CC-82E0-3B55D49859EF}"/>
          </ac:spMkLst>
        </pc:spChg>
        <pc:spChg chg="mod">
          <ac:chgData name="이 지상" userId="52e16c35b1c96571" providerId="LiveId" clId="{7300C73E-AFAE-4B36-A546-DABD5660E6B7}" dt="2021-01-06T12:28:24.511" v="2287" actId="20577"/>
          <ac:spMkLst>
            <pc:docMk/>
            <pc:sldMk cId="443975578" sldId="267"/>
            <ac:spMk id="3" creationId="{ED518809-407E-48A3-B992-2FC7B1886867}"/>
          </ac:spMkLst>
        </pc:spChg>
      </pc:sldChg>
      <pc:sldChg chg="modSp new mod">
        <pc:chgData name="이 지상" userId="52e16c35b1c96571" providerId="LiveId" clId="{7300C73E-AFAE-4B36-A546-DABD5660E6B7}" dt="2021-01-06T12:33:32.355" v="3071" actId="14100"/>
        <pc:sldMkLst>
          <pc:docMk/>
          <pc:sldMk cId="1744201434" sldId="268"/>
        </pc:sldMkLst>
        <pc:spChg chg="mod">
          <ac:chgData name="이 지상" userId="52e16c35b1c96571" providerId="LiveId" clId="{7300C73E-AFAE-4B36-A546-DABD5660E6B7}" dt="2021-01-06T12:31:06.983" v="2371" actId="20577"/>
          <ac:spMkLst>
            <pc:docMk/>
            <pc:sldMk cId="1744201434" sldId="268"/>
            <ac:spMk id="2" creationId="{495AC9B6-BC9D-4B77-97D0-7E4F14B6C6D9}"/>
          </ac:spMkLst>
        </pc:spChg>
        <pc:spChg chg="mod">
          <ac:chgData name="이 지상" userId="52e16c35b1c96571" providerId="LiveId" clId="{7300C73E-AFAE-4B36-A546-DABD5660E6B7}" dt="2021-01-06T12:33:32.355" v="3071" actId="14100"/>
          <ac:spMkLst>
            <pc:docMk/>
            <pc:sldMk cId="1744201434" sldId="268"/>
            <ac:spMk id="3" creationId="{5FCAE5FE-7853-49B5-910B-2D70639D179B}"/>
          </ac:spMkLst>
        </pc:spChg>
      </pc:sldChg>
      <pc:sldChg chg="addSp delSp modSp add mod ord">
        <pc:chgData name="이 지상" userId="52e16c35b1c96571" providerId="LiveId" clId="{7300C73E-AFAE-4B36-A546-DABD5660E6B7}" dt="2021-01-06T13:00:50.324" v="4498"/>
        <pc:sldMkLst>
          <pc:docMk/>
          <pc:sldMk cId="2087188947" sldId="269"/>
        </pc:sldMkLst>
        <pc:spChg chg="mod">
          <ac:chgData name="이 지상" userId="52e16c35b1c96571" providerId="LiveId" clId="{7300C73E-AFAE-4B36-A546-DABD5660E6B7}" dt="2021-01-06T12:53:31.149" v="3650" actId="20577"/>
          <ac:spMkLst>
            <pc:docMk/>
            <pc:sldMk cId="2087188947" sldId="269"/>
            <ac:spMk id="2" creationId="{AE997919-EB1B-4A1C-B903-706C8CC0FC0F}"/>
          </ac:spMkLst>
        </pc:spChg>
        <pc:spChg chg="mod">
          <ac:chgData name="이 지상" userId="52e16c35b1c96571" providerId="LiveId" clId="{7300C73E-AFAE-4B36-A546-DABD5660E6B7}" dt="2021-01-06T12:56:06.108" v="3908" actId="14100"/>
          <ac:spMkLst>
            <pc:docMk/>
            <pc:sldMk cId="2087188947" sldId="269"/>
            <ac:spMk id="3" creationId="{F8EB8E8A-5928-4DAB-9692-7CE698780D4C}"/>
          </ac:spMkLst>
        </pc:spChg>
        <pc:spChg chg="mod">
          <ac:chgData name="이 지상" userId="52e16c35b1c96571" providerId="LiveId" clId="{7300C73E-AFAE-4B36-A546-DABD5660E6B7}" dt="2021-01-06T13:00:50.324" v="4498"/>
          <ac:spMkLst>
            <pc:docMk/>
            <pc:sldMk cId="2087188947" sldId="269"/>
            <ac:spMk id="6" creationId="{28D1B46C-2EB8-40C4-B685-0D3D2654920E}"/>
          </ac:spMkLst>
        </pc:spChg>
        <pc:picChg chg="del">
          <ac:chgData name="이 지상" userId="52e16c35b1c96571" providerId="LiveId" clId="{7300C73E-AFAE-4B36-A546-DABD5660E6B7}" dt="2021-01-06T12:57:59.316" v="3909" actId="478"/>
          <ac:picMkLst>
            <pc:docMk/>
            <pc:sldMk cId="2087188947" sldId="269"/>
            <ac:picMk id="5" creationId="{1FA7D6BF-99AC-42DF-9EE7-CE12B834BFEC}"/>
          </ac:picMkLst>
        </pc:picChg>
        <pc:picChg chg="add mod">
          <ac:chgData name="이 지상" userId="52e16c35b1c96571" providerId="LiveId" clId="{7300C73E-AFAE-4B36-A546-DABD5660E6B7}" dt="2021-01-06T12:58:07.805" v="3912" actId="1076"/>
          <ac:picMkLst>
            <pc:docMk/>
            <pc:sldMk cId="2087188947" sldId="269"/>
            <ac:picMk id="7" creationId="{7D415C3F-BC0D-47D5-83AA-48ED58A541D8}"/>
          </ac:picMkLst>
        </pc:picChg>
      </pc:sldChg>
      <pc:sldChg chg="addSp delSp modSp new mod setBg">
        <pc:chgData name="이 지상" userId="52e16c35b1c96571" providerId="LiveId" clId="{7300C73E-AFAE-4B36-A546-DABD5660E6B7}" dt="2021-01-06T13:29:27.375" v="5549" actId="13822"/>
        <pc:sldMkLst>
          <pc:docMk/>
          <pc:sldMk cId="1915689589" sldId="270"/>
        </pc:sldMkLst>
        <pc:spChg chg="mo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2" creationId="{009759E9-0F42-44A8-959C-65B1B70C189E}"/>
          </ac:spMkLst>
        </pc:spChg>
        <pc:spChg chg="mod ord">
          <ac:chgData name="이 지상" userId="52e16c35b1c96571" providerId="LiveId" clId="{7300C73E-AFAE-4B36-A546-DABD5660E6B7}" dt="2021-01-06T13:28:46.561" v="5542" actId="20577"/>
          <ac:spMkLst>
            <pc:docMk/>
            <pc:sldMk cId="1915689589" sldId="270"/>
            <ac:spMk id="3" creationId="{D3911ADA-7BE8-4761-817A-54DDE985DEEE}"/>
          </ac:spMkLst>
        </pc:spChg>
        <pc:spChg chg="add mod">
          <ac:chgData name="이 지상" userId="52e16c35b1c96571" providerId="LiveId" clId="{7300C73E-AFAE-4B36-A546-DABD5660E6B7}" dt="2021-01-06T13:29:27.375" v="5549" actId="13822"/>
          <ac:spMkLst>
            <pc:docMk/>
            <pc:sldMk cId="1915689589" sldId="270"/>
            <ac:spMk id="10" creationId="{D8A76ED8-E460-4FBE-B1B6-1657C4FE4C47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2" creationId="{FFEB8BF2-8DE5-49E6-82CB-4F8FE941E7CF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4" creationId="{33AC2B9D-E497-4795-AE47-9B0ECC9BDDAA}"/>
          </ac:spMkLst>
        </pc:spChg>
        <pc:spChg chg="add">
          <ac:chgData name="이 지상" userId="52e16c35b1c96571" providerId="LiveId" clId="{7300C73E-AFAE-4B36-A546-DABD5660E6B7}" dt="2021-01-06T13:27:21.429" v="5451" actId="26606"/>
          <ac:spMkLst>
            <pc:docMk/>
            <pc:sldMk cId="1915689589" sldId="270"/>
            <ac:spMk id="16" creationId="{703DEB75-78DF-425F-8638-A9E1EAA5EA51}"/>
          </ac:spMkLst>
        </pc:spChg>
        <pc:picChg chg="add mod">
          <ac:chgData name="이 지상" userId="52e16c35b1c96571" providerId="LiveId" clId="{7300C73E-AFAE-4B36-A546-DABD5660E6B7}" dt="2021-01-06T13:28:50.325" v="5543" actId="1076"/>
          <ac:picMkLst>
            <pc:docMk/>
            <pc:sldMk cId="1915689589" sldId="270"/>
            <ac:picMk id="5" creationId="{4378D135-F4AF-46E2-A147-1C6E1EE145F0}"/>
          </ac:picMkLst>
        </pc:picChg>
        <pc:picChg chg="add mod">
          <ac:chgData name="이 지상" userId="52e16c35b1c96571" providerId="LiveId" clId="{7300C73E-AFAE-4B36-A546-DABD5660E6B7}" dt="2021-01-06T13:28:51.533" v="5544" actId="1076"/>
          <ac:picMkLst>
            <pc:docMk/>
            <pc:sldMk cId="1915689589" sldId="270"/>
            <ac:picMk id="7" creationId="{F3A10511-B184-44C5-B886-3B41278CE2DA}"/>
          </ac:picMkLst>
        </pc:picChg>
        <pc:cxnChg chg="add del mod">
          <ac:chgData name="이 지상" userId="52e16c35b1c96571" providerId="LiveId" clId="{7300C73E-AFAE-4B36-A546-DABD5660E6B7}" dt="2021-01-06T13:29:21.088" v="5547" actId="478"/>
          <ac:cxnSpMkLst>
            <pc:docMk/>
            <pc:sldMk cId="1915689589" sldId="270"/>
            <ac:cxnSpMk id="9" creationId="{19FA7BFA-D4BF-42F7-89ED-67B9D070D174}"/>
          </ac:cxnSpMkLst>
        </pc:cxnChg>
      </pc:sldChg>
      <pc:sldChg chg="new del">
        <pc:chgData name="이 지상" userId="52e16c35b1c96571" providerId="LiveId" clId="{7300C73E-AFAE-4B36-A546-DABD5660E6B7}" dt="2021-01-06T13:29:55.364" v="5557" actId="2696"/>
        <pc:sldMkLst>
          <pc:docMk/>
          <pc:sldMk cId="1481283745" sldId="271"/>
        </pc:sldMkLst>
      </pc:sldChg>
      <pc:sldChg chg="modSp add mod ord">
        <pc:chgData name="이 지상" userId="52e16c35b1c96571" providerId="LiveId" clId="{7300C73E-AFAE-4B36-A546-DABD5660E6B7}" dt="2021-01-06T13:34:23.003" v="6582" actId="20577"/>
        <pc:sldMkLst>
          <pc:docMk/>
          <pc:sldMk cId="107841607" sldId="272"/>
        </pc:sldMkLst>
        <pc:spChg chg="mod">
          <ac:chgData name="이 지상" userId="52e16c35b1c96571" providerId="LiveId" clId="{7300C73E-AFAE-4B36-A546-DABD5660E6B7}" dt="2021-01-06T13:29:50.984" v="5556" actId="20577"/>
          <ac:spMkLst>
            <pc:docMk/>
            <pc:sldMk cId="107841607" sldId="272"/>
            <ac:spMk id="2" creationId="{495AC9B6-BC9D-4B77-97D0-7E4F14B6C6D9}"/>
          </ac:spMkLst>
        </pc:spChg>
        <pc:spChg chg="mod">
          <ac:chgData name="이 지상" userId="52e16c35b1c96571" providerId="LiveId" clId="{7300C73E-AFAE-4B36-A546-DABD5660E6B7}" dt="2021-01-06T13:34:23.003" v="6582" actId="20577"/>
          <ac:spMkLst>
            <pc:docMk/>
            <pc:sldMk cId="107841607" sldId="272"/>
            <ac:spMk id="3" creationId="{5FCAE5FE-7853-49B5-910B-2D70639D179B}"/>
          </ac:spMkLst>
        </pc:spChg>
      </pc:sldChg>
      <pc:sldMasterChg chg="setBg">
        <pc:chgData name="이 지상" userId="52e16c35b1c96571" providerId="LiveId" clId="{7300C73E-AFAE-4B36-A546-DABD5660E6B7}" dt="2021-01-06T13:27:33.505" v="5452"/>
        <pc:sldMasterMkLst>
          <pc:docMk/>
          <pc:sldMasterMk cId="2917347261" sldId="2147483677"/>
        </pc:sldMasterMkLst>
      </pc:sldMasterChg>
    </pc:docChg>
  </pc:docChgLst>
  <pc:docChgLst>
    <pc:chgData name="이 지상" userId="52e16c35b1c96571" providerId="LiveId" clId="{FEB8189F-1772-4F30-BCF5-0959666C9478}"/>
    <pc:docChg chg="modSld">
      <pc:chgData name="이 지상" userId="52e16c35b1c96571" providerId="LiveId" clId="{FEB8189F-1772-4F30-BCF5-0959666C9478}" dt="2021-01-07T14:06:14.780" v="3"/>
      <pc:docMkLst>
        <pc:docMk/>
      </pc:docMkLst>
      <pc:sldChg chg="modSp mod">
        <pc:chgData name="이 지상" userId="52e16c35b1c96571" providerId="LiveId" clId="{FEB8189F-1772-4F30-BCF5-0959666C9478}" dt="2021-01-07T14:06:14.780" v="3"/>
        <pc:sldMkLst>
          <pc:docMk/>
          <pc:sldMk cId="2087188947" sldId="269"/>
        </pc:sldMkLst>
        <pc:spChg chg="mod">
          <ac:chgData name="이 지상" userId="52e16c35b1c96571" providerId="LiveId" clId="{FEB8189F-1772-4F30-BCF5-0959666C9478}" dt="2021-01-07T14:06:14.780" v="3"/>
          <ac:spMkLst>
            <pc:docMk/>
            <pc:sldMk cId="2087188947" sldId="269"/>
            <ac:spMk id="6" creationId="{28D1B46C-2EB8-40C4-B685-0D3D2654920E}"/>
          </ac:spMkLst>
        </pc:spChg>
      </pc:sldChg>
    </pc:docChg>
  </pc:docChgLst>
  <pc:docChgLst>
    <pc:chgData name="이 지상" userId="52e16c35b1c96571" providerId="LiveId" clId="{E3E1CB2B-ED93-498B-9977-258471074ACD}"/>
    <pc:docChg chg="undo custSel mod addSld delSld modSld sldOrd">
      <pc:chgData name="이 지상" userId="52e16c35b1c96571" providerId="LiveId" clId="{E3E1CB2B-ED93-498B-9977-258471074ACD}" dt="2021-01-13T13:14:49.138" v="16148"/>
      <pc:docMkLst>
        <pc:docMk/>
      </pc:docMkLst>
      <pc:sldChg chg="modSp add mod">
        <pc:chgData name="이 지상" userId="52e16c35b1c96571" providerId="LiveId" clId="{E3E1CB2B-ED93-498B-9977-258471074ACD}" dt="2021-01-13T12:24:06.474" v="13187" actId="20577"/>
        <pc:sldMkLst>
          <pc:docMk/>
          <pc:sldMk cId="3059116568" sldId="256"/>
        </pc:sldMkLst>
        <pc:spChg chg="mod">
          <ac:chgData name="이 지상" userId="52e16c35b1c96571" providerId="LiveId" clId="{E3E1CB2B-ED93-498B-9977-258471074ACD}" dt="2021-01-13T12:24:06.474" v="13187" actId="20577"/>
          <ac:spMkLst>
            <pc:docMk/>
            <pc:sldMk cId="3059116568" sldId="256"/>
            <ac:spMk id="2" creationId="{00000000-0000-0000-0000-000000000000}"/>
          </ac:spMkLst>
        </pc:spChg>
        <pc:spChg chg="mod">
          <ac:chgData name="이 지상" userId="52e16c35b1c96571" providerId="LiveId" clId="{E3E1CB2B-ED93-498B-9977-258471074ACD}" dt="2021-01-13T12:23:57.786" v="13160" actId="255"/>
          <ac:spMkLst>
            <pc:docMk/>
            <pc:sldMk cId="3059116568" sldId="256"/>
            <ac:spMk id="5" creationId="{00000000-0000-0000-0000-000000000000}"/>
          </ac:spMkLst>
        </pc:spChg>
      </pc:sldChg>
      <pc:sldChg chg="modSp del mod">
        <pc:chgData name="이 지상" userId="52e16c35b1c96571" providerId="LiveId" clId="{E3E1CB2B-ED93-498B-9977-258471074ACD}" dt="2021-01-13T12:24:50.930" v="13233" actId="2696"/>
        <pc:sldMkLst>
          <pc:docMk/>
          <pc:sldMk cId="502321727" sldId="259"/>
        </pc:sldMkLst>
        <pc:spChg chg="mod">
          <ac:chgData name="이 지상" userId="52e16c35b1c96571" providerId="LiveId" clId="{E3E1CB2B-ED93-498B-9977-258471074ACD}" dt="2021-01-13T12:23:47.590" v="13158" actId="27636"/>
          <ac:spMkLst>
            <pc:docMk/>
            <pc:sldMk cId="502321727" sldId="259"/>
            <ac:spMk id="2" creationId="{B8F1E1AA-2C98-4EEC-8DFB-F1E0974AE2E3}"/>
          </ac:spMkLst>
        </pc:spChg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828816942" sldId="263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599807420" sldId="264"/>
        </pc:sldMkLst>
      </pc:sldChg>
      <pc:sldChg chg="setBg">
        <pc:chgData name="이 지상" userId="52e16c35b1c96571" providerId="LiveId" clId="{E3E1CB2B-ED93-498B-9977-258471074ACD}" dt="2021-01-13T12:26:34.207" v="13235"/>
        <pc:sldMkLst>
          <pc:docMk/>
          <pc:sldMk cId="1298320984" sldId="266"/>
        </pc:sldMkLst>
      </pc:sldChg>
      <pc:sldChg chg="del">
        <pc:chgData name="이 지상" userId="52e16c35b1c96571" providerId="LiveId" clId="{E3E1CB2B-ED93-498B-9977-258471074ACD}" dt="2021-01-13T13:09:08.812" v="15389" actId="2696"/>
        <pc:sldMkLst>
          <pc:docMk/>
          <pc:sldMk cId="443975578" sldId="267"/>
        </pc:sldMkLst>
      </pc:sldChg>
      <pc:sldChg chg="del">
        <pc:chgData name="이 지상" userId="52e16c35b1c96571" providerId="LiveId" clId="{E3E1CB2B-ED93-498B-9977-258471074ACD}" dt="2021-01-13T13:09:12.789" v="15391" actId="2696"/>
        <pc:sldMkLst>
          <pc:docMk/>
          <pc:sldMk cId="1744201434" sldId="268"/>
        </pc:sldMkLst>
      </pc:sldChg>
      <pc:sldChg chg="del">
        <pc:chgData name="이 지상" userId="52e16c35b1c96571" providerId="LiveId" clId="{E3E1CB2B-ED93-498B-9977-258471074ACD}" dt="2021-01-13T13:09:10.374" v="15390" actId="2696"/>
        <pc:sldMkLst>
          <pc:docMk/>
          <pc:sldMk cId="2087188947" sldId="269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915689589" sldId="270"/>
        </pc:sldMkLst>
      </pc:sldChg>
      <pc:sldChg chg="del">
        <pc:chgData name="이 지상" userId="52e16c35b1c96571" providerId="LiveId" clId="{E3E1CB2B-ED93-498B-9977-258471074ACD}" dt="2021-01-13T13:09:18.055" v="15392" actId="2696"/>
        <pc:sldMkLst>
          <pc:docMk/>
          <pc:sldMk cId="107841607" sldId="272"/>
        </pc:sldMkLst>
      </pc:sldChg>
      <pc:sldChg chg="modSp mod">
        <pc:chgData name="이 지상" userId="52e16c35b1c96571" providerId="LiveId" clId="{E3E1CB2B-ED93-498B-9977-258471074ACD}" dt="2021-01-13T10:26:18.982" v="2400" actId="20577"/>
        <pc:sldMkLst>
          <pc:docMk/>
          <pc:sldMk cId="3271709739" sldId="274"/>
        </pc:sldMkLst>
        <pc:spChg chg="mod">
          <ac:chgData name="이 지상" userId="52e16c35b1c96571" providerId="LiveId" clId="{E3E1CB2B-ED93-498B-9977-258471074ACD}" dt="2021-01-13T10:26:17.923" v="2399"/>
          <ac:spMkLst>
            <pc:docMk/>
            <pc:sldMk cId="3271709739" sldId="274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26:18.982" v="2400" actId="20577"/>
          <ac:spMkLst>
            <pc:docMk/>
            <pc:sldMk cId="3271709739" sldId="274"/>
            <ac:spMk id="7" creationId="{2260A6A2-82F8-410C-B05D-F9F149C06749}"/>
          </ac:spMkLst>
        </pc:spChg>
      </pc:sldChg>
      <pc:sldChg chg="del">
        <pc:chgData name="이 지상" userId="52e16c35b1c96571" providerId="LiveId" clId="{E3E1CB2B-ED93-498B-9977-258471074ACD}" dt="2021-01-13T13:09:04.304" v="15385" actId="2696"/>
        <pc:sldMkLst>
          <pc:docMk/>
          <pc:sldMk cId="4110664761" sldId="275"/>
        </pc:sldMkLst>
      </pc:sldChg>
      <pc:sldChg chg="modSp mod">
        <pc:chgData name="이 지상" userId="52e16c35b1c96571" providerId="LiveId" clId="{E3E1CB2B-ED93-498B-9977-258471074ACD}" dt="2021-01-13T10:27:14.396" v="2458" actId="255"/>
        <pc:sldMkLst>
          <pc:docMk/>
          <pc:sldMk cId="3528049584" sldId="276"/>
        </pc:sldMkLst>
        <pc:spChg chg="mod">
          <ac:chgData name="이 지상" userId="52e16c35b1c96571" providerId="LiveId" clId="{E3E1CB2B-ED93-498B-9977-258471074ACD}" dt="2021-01-13T10:27:14.396" v="2458" actId="255"/>
          <ac:spMkLst>
            <pc:docMk/>
            <pc:sldMk cId="3528049584" sldId="276"/>
            <ac:spMk id="2" creationId="{4803AC60-B1EB-4F45-9FAD-7E1C0E21014C}"/>
          </ac:spMkLst>
        </pc:spChg>
      </pc:sldChg>
      <pc:sldChg chg="addSp delSp modSp mod ord setBg">
        <pc:chgData name="이 지상" userId="52e16c35b1c96571" providerId="LiveId" clId="{E3E1CB2B-ED93-498B-9977-258471074ACD}" dt="2021-01-13T11:11:36.348" v="6074" actId="20577"/>
        <pc:sldMkLst>
          <pc:docMk/>
          <pc:sldMk cId="3011063810" sldId="277"/>
        </pc:sldMkLst>
        <pc:spChg chg="mod">
          <ac:chgData name="이 지상" userId="52e16c35b1c96571" providerId="LiveId" clId="{E3E1CB2B-ED93-498B-9977-258471074ACD}" dt="2021-01-13T10:46:31.698" v="4447"/>
          <ac:spMkLst>
            <pc:docMk/>
            <pc:sldMk cId="3011063810" sldId="27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11:36.348" v="6074" actId="20577"/>
          <ac:spMkLst>
            <pc:docMk/>
            <pc:sldMk cId="3011063810" sldId="277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12" creationId="{201CC55D-ED54-4C5C-95E6-10947BD1103B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45:12.559" v="4406" actId="26606"/>
          <ac:spMkLst>
            <pc:docMk/>
            <pc:sldMk cId="3011063810" sldId="277"/>
            <ac:spMk id="22" creationId="{19C9EAEA-39D0-4B0E-A0EB-51E7B26740B1}"/>
          </ac:spMkLst>
        </pc:spChg>
        <pc:grpChg chg="add">
          <ac:chgData name="이 지상" userId="52e16c35b1c96571" providerId="LiveId" clId="{E3E1CB2B-ED93-498B-9977-258471074ACD}" dt="2021-01-13T10:45:12.559" v="4406" actId="26606"/>
          <ac:grpSpMkLst>
            <pc:docMk/>
            <pc:sldMk cId="3011063810" sldId="277"/>
            <ac:grpSpMk id="14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46:50.766" v="4455" actId="1076"/>
          <ac:picMkLst>
            <pc:docMk/>
            <pc:sldMk cId="3011063810" sldId="277"/>
            <ac:picMk id="4" creationId="{9303D027-E26B-411E-9A6C-5CCB163BB213}"/>
          </ac:picMkLst>
        </pc:picChg>
        <pc:picChg chg="del mod">
          <ac:chgData name="이 지상" userId="52e16c35b1c96571" providerId="LiveId" clId="{E3E1CB2B-ED93-498B-9977-258471074ACD}" dt="2021-01-13T10:46:34.659" v="4448" actId="478"/>
          <ac:picMkLst>
            <pc:docMk/>
            <pc:sldMk cId="3011063810" sldId="277"/>
            <ac:picMk id="6" creationId="{D71E50D2-B146-4FB3-9E8D-EA32D428EF40}"/>
          </ac:picMkLst>
        </pc:picChg>
      </pc:sldChg>
      <pc:sldChg chg="modSp mod">
        <pc:chgData name="이 지상" userId="52e16c35b1c96571" providerId="LiveId" clId="{E3E1CB2B-ED93-498B-9977-258471074ACD}" dt="2021-01-13T10:33:26.657" v="3284"/>
        <pc:sldMkLst>
          <pc:docMk/>
          <pc:sldMk cId="1703517502" sldId="278"/>
        </pc:sldMkLst>
        <pc:spChg chg="mod">
          <ac:chgData name="이 지상" userId="52e16c35b1c96571" providerId="LiveId" clId="{E3E1CB2B-ED93-498B-9977-258471074ACD}" dt="2021-01-13T10:33:26.657" v="3284"/>
          <ac:spMkLst>
            <pc:docMk/>
            <pc:sldMk cId="1703517502" sldId="278"/>
            <ac:spMk id="2" creationId="{4803AC60-B1EB-4F45-9FAD-7E1C0E21014C}"/>
          </ac:spMkLst>
        </pc:spChg>
      </pc:sldChg>
      <pc:sldChg chg="modSp mod">
        <pc:chgData name="이 지상" userId="52e16c35b1c96571" providerId="LiveId" clId="{E3E1CB2B-ED93-498B-9977-258471074ACD}" dt="2021-01-13T10:28:07.880" v="2603" actId="255"/>
        <pc:sldMkLst>
          <pc:docMk/>
          <pc:sldMk cId="566833962" sldId="279"/>
        </pc:sldMkLst>
        <pc:spChg chg="mod">
          <ac:chgData name="이 지상" userId="52e16c35b1c96571" providerId="LiveId" clId="{E3E1CB2B-ED93-498B-9977-258471074ACD}" dt="2021-01-13T10:28:07.880" v="2603" actId="255"/>
          <ac:spMkLst>
            <pc:docMk/>
            <pc:sldMk cId="566833962" sldId="279"/>
            <ac:spMk id="2" creationId="{4803AC60-B1EB-4F45-9FAD-7E1C0E21014C}"/>
          </ac:spMkLst>
        </pc:spChg>
      </pc:sldChg>
      <pc:sldChg chg="del">
        <pc:chgData name="이 지상" userId="52e16c35b1c96571" providerId="LiveId" clId="{E3E1CB2B-ED93-498B-9977-258471074ACD}" dt="2021-01-13T13:09:06.726" v="15387" actId="2696"/>
        <pc:sldMkLst>
          <pc:docMk/>
          <pc:sldMk cId="650320255" sldId="280"/>
        </pc:sldMkLst>
      </pc:sldChg>
      <pc:sldChg chg="del">
        <pc:chgData name="이 지상" userId="52e16c35b1c96571" providerId="LiveId" clId="{E3E1CB2B-ED93-498B-9977-258471074ACD}" dt="2021-01-13T13:09:05.447" v="15386" actId="2696"/>
        <pc:sldMkLst>
          <pc:docMk/>
          <pc:sldMk cId="3388342986" sldId="281"/>
        </pc:sldMkLst>
      </pc:sldChg>
      <pc:sldChg chg="delSp add del ord setBg delDesignElem">
        <pc:chgData name="이 지상" userId="52e16c35b1c96571" providerId="LiveId" clId="{E3E1CB2B-ED93-498B-9977-258471074ACD}" dt="2021-01-13T13:09:08.097" v="15388" actId="2696"/>
        <pc:sldMkLst>
          <pc:docMk/>
          <pc:sldMk cId="3136323738" sldId="282"/>
        </pc:sldMkLst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09:59:44.131" v="1"/>
          <ac:spMkLst>
            <pc:docMk/>
            <pc:sldMk cId="3136323738" sldId="282"/>
            <ac:spMk id="22" creationId="{19C9EAEA-39D0-4B0E-A0EB-51E7B26740B1}"/>
          </ac:spMkLst>
        </pc:spChg>
        <pc:grpChg chg="del">
          <ac:chgData name="이 지상" userId="52e16c35b1c96571" providerId="LiveId" clId="{E3E1CB2B-ED93-498B-9977-258471074ACD}" dt="2021-01-13T09:59:44.131" v="1"/>
          <ac:grpSpMkLst>
            <pc:docMk/>
            <pc:sldMk cId="3136323738" sldId="282"/>
            <ac:grpSpMk id="14" creationId="{1DE889C7-FAD6-4397-98E2-05D503484459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33:42.497" v="3318"/>
        <pc:sldMkLst>
          <pc:docMk/>
          <pc:sldMk cId="677557569" sldId="283"/>
        </pc:sldMkLst>
        <pc:spChg chg="mod">
          <ac:chgData name="이 지상" userId="52e16c35b1c96571" providerId="LiveId" clId="{E3E1CB2B-ED93-498B-9977-258471074ACD}" dt="2021-01-13T10:33:42.497" v="3318"/>
          <ac:spMkLst>
            <pc:docMk/>
            <pc:sldMk cId="677557569" sldId="28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19" creationId="{C13237C8-E62C-4F0D-A318-BD6FB6C2D138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01:19.303" v="52" actId="26606"/>
          <ac:spMkLst>
            <pc:docMk/>
            <pc:sldMk cId="677557569" sldId="283"/>
            <ac:spMk id="21" creationId="{19C9EAEA-39D0-4B0E-A0EB-51E7B26740B1}"/>
          </ac:spMkLst>
        </pc:spChg>
        <pc:spChg chg="del">
          <ac:chgData name="이 지상" userId="52e16c35b1c96571" providerId="LiveId" clId="{E3E1CB2B-ED93-498B-9977-258471074ACD}" dt="2021-01-13T10:00:18.917" v="17"/>
          <ac:spMkLst>
            <pc:docMk/>
            <pc:sldMk cId="677557569" sldId="283"/>
            <ac:spMk id="22" creationId="{19C9EAEA-39D0-4B0E-A0EB-51E7B26740B1}"/>
          </ac:spMkLst>
        </pc:spChg>
        <pc:spChg chg="add mod">
          <ac:chgData name="이 지상" userId="52e16c35b1c96571" providerId="LiveId" clId="{E3E1CB2B-ED93-498B-9977-258471074ACD}" dt="2021-01-13T10:05:26.209" v="466" actId="14100"/>
          <ac:spMkLst>
            <pc:docMk/>
            <pc:sldMk cId="677557569" sldId="283"/>
            <ac:spMk id="24" creationId="{D52E601E-10DE-400B-82DB-ED97179B4ADE}"/>
          </ac:spMkLst>
        </pc:spChg>
        <pc:grpChg chg="add">
          <ac:chgData name="이 지상" userId="52e16c35b1c96571" providerId="LiveId" clId="{E3E1CB2B-ED93-498B-9977-258471074ACD}" dt="2021-01-13T10:01:19.303" v="52" actId="26606"/>
          <ac:grpSpMkLst>
            <pc:docMk/>
            <pc:sldMk cId="677557569" sldId="283"/>
            <ac:grpSpMk id="10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00:18.917" v="17"/>
          <ac:grpSpMkLst>
            <pc:docMk/>
            <pc:sldMk cId="677557569" sldId="283"/>
            <ac:grpSpMk id="14" creationId="{1DE889C7-FAD6-4397-98E2-05D503484459}"/>
          </ac:grpSpMkLst>
        </pc:grpChg>
        <pc:picChg chg="add del mod">
          <ac:chgData name="이 지상" userId="52e16c35b1c96571" providerId="LiveId" clId="{E3E1CB2B-ED93-498B-9977-258471074ACD}" dt="2021-01-13T10:01:23.532" v="53" actId="21"/>
          <ac:picMkLst>
            <pc:docMk/>
            <pc:sldMk cId="677557569" sldId="283"/>
            <ac:picMk id="4" creationId="{36374DB2-10F6-440C-B8CB-CEC96C07E795}"/>
          </ac:picMkLst>
        </pc:picChg>
        <pc:picChg chg="add mod">
          <ac:chgData name="이 지상" userId="52e16c35b1c96571" providerId="LiveId" clId="{E3E1CB2B-ED93-498B-9977-258471074ACD}" dt="2021-01-13T10:01:36.292" v="60" actId="14100"/>
          <ac:picMkLst>
            <pc:docMk/>
            <pc:sldMk cId="677557569" sldId="283"/>
            <ac:picMk id="6" creationId="{36B0CC5F-2661-4248-AAE9-8AC04D9C8A74}"/>
          </ac:picMkLst>
        </pc:picChg>
        <pc:picChg chg="del mod">
          <ac:chgData name="이 지상" userId="52e16c35b1c96571" providerId="LiveId" clId="{E3E1CB2B-ED93-498B-9977-258471074ACD}" dt="2021-01-13T10:00:34.985" v="46" actId="478"/>
          <ac:picMkLst>
            <pc:docMk/>
            <pc:sldMk cId="677557569" sldId="283"/>
            <ac:picMk id="13" creationId="{C0B59EAB-6464-43B3-9A05-20CB1551B24D}"/>
          </ac:picMkLst>
        </pc:picChg>
        <pc:picChg chg="del">
          <ac:chgData name="이 지상" userId="52e16c35b1c96571" providerId="LiveId" clId="{E3E1CB2B-ED93-498B-9977-258471074ACD}" dt="2021-01-13T10:00:34.441" v="44" actId="478"/>
          <ac:picMkLst>
            <pc:docMk/>
            <pc:sldMk cId="677557569" sldId="283"/>
            <ac:picMk id="17" creationId="{2436C098-61DD-412D-907B-3AE7C3A220E7}"/>
          </ac:picMkLst>
        </pc:picChg>
        <pc:picChg chg="add del mod">
          <ac:chgData name="이 지상" userId="52e16c35b1c96571" providerId="LiveId" clId="{E3E1CB2B-ED93-498B-9977-258471074ACD}" dt="2021-01-13T10:01:26.066" v="55"/>
          <ac:picMkLst>
            <pc:docMk/>
            <pc:sldMk cId="677557569" sldId="283"/>
            <ac:picMk id="23" creationId="{1C12A57B-7E8F-4455-81AE-7530BEE71618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9.454" v="15"/>
        <pc:sldMkLst>
          <pc:docMk/>
          <pc:sldMk cId="1023911485" sldId="283"/>
        </pc:sldMkLst>
        <pc:spChg chg="add del">
          <ac:chgData name="이 지상" userId="52e16c35b1c96571" providerId="LiveId" clId="{E3E1CB2B-ED93-498B-9977-258471074ACD}" dt="2021-01-13T10:00:09.454" v="15"/>
          <ac:spMkLst>
            <pc:docMk/>
            <pc:sldMk cId="1023911485" sldId="283"/>
            <ac:spMk id="8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00:09.454" v="15"/>
          <ac:spMkLst>
            <pc:docMk/>
            <pc:sldMk cId="1023911485" sldId="283"/>
            <ac:spMk id="14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00:09.454" v="15"/>
          <ac:grpSpMkLst>
            <pc:docMk/>
            <pc:sldMk cId="1023911485" sldId="283"/>
            <ac:grpSpMk id="10" creationId="{28FAF094-D087-493F-8DF9-A486C2D6BBAA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6:13.212" v="3556"/>
        <pc:sldMkLst>
          <pc:docMk/>
          <pc:sldMk cId="2065336253" sldId="284"/>
        </pc:sldMkLst>
        <pc:spChg chg="mod">
          <ac:chgData name="이 지상" userId="52e16c35b1c96571" providerId="LiveId" clId="{E3E1CB2B-ED93-498B-9977-258471074ACD}" dt="2021-01-13T10:36:13.212" v="3556"/>
          <ac:spMkLst>
            <pc:docMk/>
            <pc:sldMk cId="2065336253" sldId="284"/>
            <ac:spMk id="2" creationId="{4803AC60-B1EB-4F45-9FAD-7E1C0E21014C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19" creationId="{C13237C8-E62C-4F0D-A318-BD6FB6C2D138}"/>
          </ac:spMkLst>
        </pc:spChg>
        <pc:spChg chg="add mod">
          <ac:chgData name="이 지상" userId="52e16c35b1c96571" providerId="LiveId" clId="{E3E1CB2B-ED93-498B-9977-258471074ACD}" dt="2021-01-13T10:25:41.877" v="2372" actId="20577"/>
          <ac:spMkLst>
            <pc:docMk/>
            <pc:sldMk cId="2065336253" sldId="284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0:05:29.433" v="468"/>
          <ac:spMkLst>
            <pc:docMk/>
            <pc:sldMk cId="2065336253" sldId="284"/>
            <ac:spMk id="21" creationId="{19C9EAEA-39D0-4B0E-A0EB-51E7B26740B1}"/>
          </ac:spMkLst>
        </pc:spChg>
        <pc:spChg chg="mod">
          <ac:chgData name="이 지상" userId="52e16c35b1c96571" providerId="LiveId" clId="{E3E1CB2B-ED93-498B-9977-258471074ACD}" dt="2021-01-13T10:05:49.431" v="469" actId="20577"/>
          <ac:spMkLst>
            <pc:docMk/>
            <pc:sldMk cId="2065336253" sldId="284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0:23:12.773" v="2205" actId="26606"/>
          <ac:spMkLst>
            <pc:docMk/>
            <pc:sldMk cId="2065336253" sldId="284"/>
            <ac:spMk id="39" creationId="{19C9EAEA-39D0-4B0E-A0EB-51E7B26740B1}"/>
          </ac:spMkLst>
        </pc:spChg>
        <pc:grpChg chg="del">
          <ac:chgData name="이 지상" userId="52e16c35b1c96571" providerId="LiveId" clId="{E3E1CB2B-ED93-498B-9977-258471074ACD}" dt="2021-01-13T10:05:29.433" v="468"/>
          <ac:grpSpMkLst>
            <pc:docMk/>
            <pc:sldMk cId="2065336253" sldId="284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0:23:12.773" v="2205" actId="26606"/>
          <ac:grpSpMkLst>
            <pc:docMk/>
            <pc:sldMk cId="2065336253" sldId="284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25:38.041" v="2370" actId="1076"/>
          <ac:picMkLst>
            <pc:docMk/>
            <pc:sldMk cId="2065336253" sldId="284"/>
            <ac:picMk id="4" creationId="{B295898B-50AB-472A-B289-1CBDC2685F95}"/>
          </ac:picMkLst>
        </pc:picChg>
        <pc:picChg chg="del mod">
          <ac:chgData name="이 지상" userId="52e16c35b1c96571" providerId="LiveId" clId="{E3E1CB2B-ED93-498B-9977-258471074ACD}" dt="2021-01-13T10:23:17.988" v="2206" actId="478"/>
          <ac:picMkLst>
            <pc:docMk/>
            <pc:sldMk cId="2065336253" sldId="284"/>
            <ac:picMk id="6" creationId="{36B0CC5F-2661-4248-AAE9-8AC04D9C8A74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8.921" v="14"/>
        <pc:sldMkLst>
          <pc:docMk/>
          <pc:sldMk cId="4239199686" sldId="284"/>
        </pc:sldMkLst>
        <pc:spChg chg="add del">
          <ac:chgData name="이 지상" userId="52e16c35b1c96571" providerId="LiveId" clId="{E3E1CB2B-ED93-498B-9977-258471074ACD}" dt="2021-01-13T10:00:08.921" v="14"/>
          <ac:spMkLst>
            <pc:docMk/>
            <pc:sldMk cId="4239199686" sldId="284"/>
            <ac:spMk id="8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00:08.921" v="14"/>
          <ac:spMkLst>
            <pc:docMk/>
            <pc:sldMk cId="4239199686" sldId="284"/>
            <ac:spMk id="14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00:08.921" v="14"/>
          <ac:grpSpMkLst>
            <pc:docMk/>
            <pc:sldMk cId="4239199686" sldId="284"/>
            <ac:grpSpMk id="10" creationId="{28FAF094-D087-493F-8DF9-A486C2D6BBAA}"/>
          </ac:grpSpMkLst>
        </pc:grpChg>
      </pc:sldChg>
      <pc:sldChg chg="addSp delSp add del setBg delDesignElem">
        <pc:chgData name="이 지상" userId="52e16c35b1c96571" providerId="LiveId" clId="{E3E1CB2B-ED93-498B-9977-258471074ACD}" dt="2021-01-13T10:00:08.353" v="13"/>
        <pc:sldMkLst>
          <pc:docMk/>
          <pc:sldMk cId="1752518321" sldId="285"/>
        </pc:sldMkLst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17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3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5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00:08.353" v="13"/>
          <ac:spMkLst>
            <pc:docMk/>
            <pc:sldMk cId="1752518321" sldId="285"/>
            <ac:spMk id="27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0:00:08.353" v="13"/>
          <ac:grpSpMkLst>
            <pc:docMk/>
            <pc:sldMk cId="1752518321" sldId="285"/>
            <ac:grpSpMk id="19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3:53.030" v="3353"/>
        <pc:sldMkLst>
          <pc:docMk/>
          <pc:sldMk cId="2977325324" sldId="285"/>
        </pc:sldMkLst>
        <pc:spChg chg="mod">
          <ac:chgData name="이 지상" userId="52e16c35b1c96571" providerId="LiveId" clId="{E3E1CB2B-ED93-498B-9977-258471074ACD}" dt="2021-01-13T10:33:53.030" v="3353"/>
          <ac:spMkLst>
            <pc:docMk/>
            <pc:sldMk cId="2977325324" sldId="285"/>
            <ac:spMk id="2" creationId="{4803AC60-B1EB-4F45-9FAD-7E1C0E21014C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19" creationId="{C13237C8-E62C-4F0D-A318-BD6FB6C2D138}"/>
          </ac:spMkLst>
        </pc:spChg>
        <pc:spChg chg="del">
          <ac:chgData name="이 지상" userId="52e16c35b1c96571" providerId="LiveId" clId="{E3E1CB2B-ED93-498B-9977-258471074ACD}" dt="2021-01-13T10:06:49.435" v="471"/>
          <ac:spMkLst>
            <pc:docMk/>
            <pc:sldMk cId="2977325324" sldId="285"/>
            <ac:spMk id="21" creationId="{19C9EAEA-39D0-4B0E-A0EB-51E7B26740B1}"/>
          </ac:spMkLst>
        </pc:spChg>
        <pc:spChg chg="mod">
          <ac:chgData name="이 지상" userId="52e16c35b1c96571" providerId="LiveId" clId="{E3E1CB2B-ED93-498B-9977-258471074ACD}" dt="2021-01-13T10:16:05.001" v="1540" actId="14100"/>
          <ac:spMkLst>
            <pc:docMk/>
            <pc:sldMk cId="2977325324" sldId="285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0:10:44.230" v="1262" actId="26606"/>
          <ac:spMkLst>
            <pc:docMk/>
            <pc:sldMk cId="2977325324" sldId="285"/>
            <ac:spMk id="39" creationId="{19C9EAEA-39D0-4B0E-A0EB-51E7B26740B1}"/>
          </ac:spMkLst>
        </pc:spChg>
        <pc:grpChg chg="del">
          <ac:chgData name="이 지상" userId="52e16c35b1c96571" providerId="LiveId" clId="{E3E1CB2B-ED93-498B-9977-258471074ACD}" dt="2021-01-13T10:06:49.435" v="471"/>
          <ac:grpSpMkLst>
            <pc:docMk/>
            <pc:sldMk cId="2977325324" sldId="285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0:10:44.230" v="1262" actId="26606"/>
          <ac:grpSpMkLst>
            <pc:docMk/>
            <pc:sldMk cId="2977325324" sldId="285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0:15:52.629" v="1538" actId="478"/>
          <ac:picMkLst>
            <pc:docMk/>
            <pc:sldMk cId="2977325324" sldId="285"/>
            <ac:picMk id="6" creationId="{36B0CC5F-2661-4248-AAE9-8AC04D9C8A74}"/>
          </ac:picMkLst>
        </pc:picChg>
        <pc:picChg chg="add mod">
          <ac:chgData name="이 지상" userId="52e16c35b1c96571" providerId="LiveId" clId="{E3E1CB2B-ED93-498B-9977-258471074ACD}" dt="2021-01-13T10:15:55.771" v="1539"/>
          <ac:picMkLst>
            <pc:docMk/>
            <pc:sldMk cId="2977325324" sldId="285"/>
            <ac:picMk id="20" creationId="{7609DB2B-B4EB-47ED-AA7B-714ED8B6FDFE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00:07.848" v="12"/>
        <pc:sldMkLst>
          <pc:docMk/>
          <pc:sldMk cId="2050663650" sldId="286"/>
        </pc:sldMkLst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12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1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2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00:07.848" v="12"/>
          <ac:spMkLst>
            <pc:docMk/>
            <pc:sldMk cId="2050663650" sldId="286"/>
            <ac:spMk id="22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0:00:07.848" v="12"/>
          <ac:grpSpMkLst>
            <pc:docMk/>
            <pc:sldMk cId="2050663650" sldId="286"/>
            <ac:grpSpMk id="14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0:35:03.471" v="3442" actId="255"/>
        <pc:sldMkLst>
          <pc:docMk/>
          <pc:sldMk cId="2738078864" sldId="286"/>
        </pc:sldMkLst>
        <pc:spChg chg="mod">
          <ac:chgData name="이 지상" userId="52e16c35b1c96571" providerId="LiveId" clId="{E3E1CB2B-ED93-498B-9977-258471074ACD}" dt="2021-01-13T10:35:03.471" v="3442" actId="255"/>
          <ac:spMkLst>
            <pc:docMk/>
            <pc:sldMk cId="2738078864" sldId="28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15:28.996" v="1537" actId="20577"/>
          <ac:spMkLst>
            <pc:docMk/>
            <pc:sldMk cId="2738078864" sldId="286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26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0:12:49.732" v="1265" actId="26606"/>
          <ac:spMkLst>
            <pc:docMk/>
            <pc:sldMk cId="2738078864" sldId="286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0:11:31.144" v="1264"/>
          <ac:spMkLst>
            <pc:docMk/>
            <pc:sldMk cId="2738078864" sldId="286"/>
            <ac:spMk id="39" creationId="{19C9EAEA-39D0-4B0E-A0EB-51E7B26740B1}"/>
          </ac:spMkLst>
        </pc:spChg>
        <pc:grpChg chg="add">
          <ac:chgData name="이 지상" userId="52e16c35b1c96571" providerId="LiveId" clId="{E3E1CB2B-ED93-498B-9977-258471074ACD}" dt="2021-01-13T10:12:49.732" v="1265" actId="26606"/>
          <ac:grpSpMkLst>
            <pc:docMk/>
            <pc:sldMk cId="2738078864" sldId="286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11:31.144" v="1264"/>
          <ac:grpSpMkLst>
            <pc:docMk/>
            <pc:sldMk cId="2738078864" sldId="286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0:13:04.612" v="1273" actId="1076"/>
          <ac:picMkLst>
            <pc:docMk/>
            <pc:sldMk cId="2738078864" sldId="286"/>
            <ac:picMk id="4" creationId="{4683804F-F0A9-4DAA-9A33-F79749713CE6}"/>
          </ac:picMkLst>
        </pc:picChg>
        <pc:picChg chg="del">
          <ac:chgData name="이 지상" userId="52e16c35b1c96571" providerId="LiveId" clId="{E3E1CB2B-ED93-498B-9977-258471074ACD}" dt="2021-01-13T10:12:50.633" v="1266" actId="478"/>
          <ac:picMkLst>
            <pc:docMk/>
            <pc:sldMk cId="2738078864" sldId="286"/>
            <ac:picMk id="6" creationId="{36B0CC5F-2661-4248-AAE9-8AC04D9C8A74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0:22:58.771" v="2204"/>
        <pc:sldMkLst>
          <pc:docMk/>
          <pc:sldMk cId="3260374831" sldId="287"/>
        </pc:sldMkLst>
        <pc:spChg chg="mo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22:58.771" v="2204"/>
          <ac:spMkLst>
            <pc:docMk/>
            <pc:sldMk cId="3260374831" sldId="287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0:18:31.364" v="1542"/>
          <ac:spMkLst>
            <pc:docMk/>
            <pc:sldMk cId="3260374831" sldId="287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15" creationId="{117AB3D3-3C9C-4DED-809A-78734805B895}"/>
          </ac:spMkLst>
        </pc:spChg>
        <pc:spChg chg="del">
          <ac:chgData name="이 지상" userId="52e16c35b1c96571" providerId="LiveId" clId="{E3E1CB2B-ED93-498B-9977-258471074ACD}" dt="2021-01-13T10:18:31.364" v="1542"/>
          <ac:spMkLst>
            <pc:docMk/>
            <pc:sldMk cId="3260374831" sldId="287"/>
            <ac:spMk id="18" creationId="{E659831F-0D9A-4C63-9EBB-8435B85A440F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0" creationId="{3A9A4357-BD1D-4622-A4FE-766E6AB8DE84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2" creationId="{E659831F-0D9A-4C63-9EBB-8435B85A440F}"/>
          </ac:spMkLst>
        </pc:spChg>
        <pc:spChg chg="add">
          <ac:chgData name="이 지상" userId="52e16c35b1c96571" providerId="LiveId" clId="{E3E1CB2B-ED93-498B-9977-258471074ACD}" dt="2021-01-13T10:18:47.241" v="1577" actId="26606"/>
          <ac:spMkLst>
            <pc:docMk/>
            <pc:sldMk cId="3260374831" sldId="287"/>
            <ac:spMk id="24" creationId="{E6995CE5-F890-4ABA-82A2-26507CE8D2A3}"/>
          </ac:spMkLst>
        </pc:spChg>
        <pc:grpChg chg="del">
          <ac:chgData name="이 지상" userId="52e16c35b1c96571" providerId="LiveId" clId="{E3E1CB2B-ED93-498B-9977-258471074ACD}" dt="2021-01-13T10:18:31.364" v="1542"/>
          <ac:grpSpMkLst>
            <pc:docMk/>
            <pc:sldMk cId="3260374831" sldId="287"/>
            <ac:grpSpMk id="14" creationId="{28FAF094-D087-493F-8DF9-A486C2D6BBAA}"/>
          </ac:grpSpMkLst>
        </pc:grpChg>
        <pc:picChg chg="del mod">
          <ac:chgData name="이 지상" userId="52e16c35b1c96571" providerId="LiveId" clId="{E3E1CB2B-ED93-498B-9977-258471074ACD}" dt="2021-01-13T10:18:50.051" v="1578" actId="478"/>
          <ac:picMkLst>
            <pc:docMk/>
            <pc:sldMk cId="3260374831" sldId="287"/>
            <ac:picMk id="13" creationId="{CDCCC3F6-BDE6-4B63-B1A0-4BC005C972F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0:32:50.264" v="3248" actId="26606"/>
        <pc:sldMkLst>
          <pc:docMk/>
          <pc:sldMk cId="2758524414" sldId="288"/>
        </pc:sldMkLst>
        <pc:spChg chg="mo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0:32:50.264" v="3248" actId="26606"/>
          <ac:spMkLst>
            <pc:docMk/>
            <pc:sldMk cId="2758524414" sldId="288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0:29:02.808" v="2605"/>
          <ac:spMkLst>
            <pc:docMk/>
            <pc:sldMk cId="2758524414" sldId="288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29:02.808" v="2605"/>
          <ac:spMkLst>
            <pc:docMk/>
            <pc:sldMk cId="2758524414" sldId="288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0:32:50.264" v="3248" actId="26606"/>
          <ac:grpSpMkLst>
            <pc:docMk/>
            <pc:sldMk cId="2758524414" sldId="288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0:29:02.808" v="2605"/>
          <ac:grpSpMkLst>
            <pc:docMk/>
            <pc:sldMk cId="2758524414" sldId="288"/>
            <ac:grpSpMk id="14" creationId="{28FAF094-D087-493F-8DF9-A486C2D6BBAA}"/>
          </ac:grpSpMkLst>
        </pc:grpChg>
        <pc:picChg chg="add del">
          <ac:chgData name="이 지상" userId="52e16c35b1c96571" providerId="LiveId" clId="{E3E1CB2B-ED93-498B-9977-258471074ACD}" dt="2021-01-13T10:29:14.045" v="2613" actId="478"/>
          <ac:picMkLst>
            <pc:docMk/>
            <pc:sldMk cId="2758524414" sldId="288"/>
            <ac:picMk id="13" creationId="{CDCCC3F6-BDE6-4B63-B1A0-4BC005C972F1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0:23:25.234" v="2209"/>
        <pc:sldMkLst>
          <pc:docMk/>
          <pc:sldMk cId="3604215067" sldId="288"/>
        </pc:sldMkLst>
        <pc:spChg chg="add del">
          <ac:chgData name="이 지상" userId="52e16c35b1c96571" providerId="LiveId" clId="{E3E1CB2B-ED93-498B-9977-258471074ACD}" dt="2021-01-13T10:23:25.234" v="2209"/>
          <ac:spMkLst>
            <pc:docMk/>
            <pc:sldMk cId="3604215067" sldId="288"/>
            <ac:spMk id="12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0:23:25.234" v="2209"/>
          <ac:spMkLst>
            <pc:docMk/>
            <pc:sldMk cId="3604215067" sldId="288"/>
            <ac:spMk id="18" creationId="{E659831F-0D9A-4C63-9EBB-8435B85A440F}"/>
          </ac:spMkLst>
        </pc:spChg>
        <pc:grpChg chg="add del">
          <ac:chgData name="이 지상" userId="52e16c35b1c96571" providerId="LiveId" clId="{E3E1CB2B-ED93-498B-9977-258471074ACD}" dt="2021-01-13T10:23:25.234" v="2209"/>
          <ac:grpSpMkLst>
            <pc:docMk/>
            <pc:sldMk cId="3604215067" sldId="288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39:27.715" v="3977" actId="20577"/>
        <pc:sldMkLst>
          <pc:docMk/>
          <pc:sldMk cId="3503214582" sldId="289"/>
        </pc:sldMkLst>
        <pc:spChg chg="mod">
          <ac:chgData name="이 지상" userId="52e16c35b1c96571" providerId="LiveId" clId="{E3E1CB2B-ED93-498B-9977-258471074ACD}" dt="2021-01-13T10:37:35.646" v="3601"/>
          <ac:spMkLst>
            <pc:docMk/>
            <pc:sldMk cId="3503214582" sldId="289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39:27.715" v="3977" actId="20577"/>
          <ac:spMkLst>
            <pc:docMk/>
            <pc:sldMk cId="3503214582" sldId="289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37:24.418" v="3561" actId="26606"/>
          <ac:spMkLst>
            <pc:docMk/>
            <pc:sldMk cId="3503214582" sldId="289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15" creationId="{117AB3D3-3C9C-4DED-809A-78734805B895}"/>
          </ac:spMkLst>
        </pc:spChg>
        <pc:spChg chg="add">
          <ac:chgData name="이 지상" userId="52e16c35b1c96571" providerId="LiveId" clId="{E3E1CB2B-ED93-498B-9977-258471074ACD}" dt="2021-01-13T10:37:24.418" v="3561" actId="26606"/>
          <ac:spMkLst>
            <pc:docMk/>
            <pc:sldMk cId="3503214582" sldId="289"/>
            <ac:spMk id="18" creationId="{E659831F-0D9A-4C63-9EBB-8435B85A440F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0" creationId="{3A9A4357-BD1D-4622-A4FE-766E6AB8DE84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2" creationId="{E659831F-0D9A-4C63-9EBB-8435B85A440F}"/>
          </ac:spMkLst>
        </pc:spChg>
        <pc:spChg chg="del">
          <ac:chgData name="이 지상" userId="52e16c35b1c96571" providerId="LiveId" clId="{E3E1CB2B-ED93-498B-9977-258471074ACD}" dt="2021-01-13T10:37:19.418" v="3558"/>
          <ac:spMkLst>
            <pc:docMk/>
            <pc:sldMk cId="3503214582" sldId="289"/>
            <ac:spMk id="24" creationId="{E6995CE5-F890-4ABA-82A2-26507CE8D2A3}"/>
          </ac:spMkLst>
        </pc:spChg>
        <pc:grpChg chg="add">
          <ac:chgData name="이 지상" userId="52e16c35b1c96571" providerId="LiveId" clId="{E3E1CB2B-ED93-498B-9977-258471074ACD}" dt="2021-01-13T10:37:24.418" v="3561" actId="26606"/>
          <ac:grpSpMkLst>
            <pc:docMk/>
            <pc:sldMk cId="3503214582" sldId="289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0:43:56.581" v="4405" actId="14100"/>
        <pc:sldMkLst>
          <pc:docMk/>
          <pc:sldMk cId="4138902201" sldId="290"/>
        </pc:sldMkLst>
        <pc:spChg chg="mo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0:41:50.836" v="4060" actId="14100"/>
          <ac:spMkLst>
            <pc:docMk/>
            <pc:sldMk cId="4138902201" sldId="290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0:43:56.581" v="4405" actId="14100"/>
          <ac:spMkLst>
            <pc:docMk/>
            <pc:sldMk cId="4138902201" sldId="290"/>
            <ac:spMk id="20" creationId="{3D9AA2F2-A2D5-45F5-95DF-5A17105A0F4B}"/>
          </ac:spMkLst>
        </pc:spChg>
        <pc:spChg chg="mod">
          <ac:chgData name="이 지상" userId="52e16c35b1c96571" providerId="LiveId" clId="{E3E1CB2B-ED93-498B-9977-258471074ACD}" dt="2021-01-13T10:41:11.699" v="4048" actId="14100"/>
          <ac:spMkLst>
            <pc:docMk/>
            <pc:sldMk cId="4138902201" sldId="290"/>
            <ac:spMk id="24" creationId="{D52E601E-10DE-400B-82DB-ED97179B4ADE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6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29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36" creationId="{117AB3D3-3C9C-4DED-809A-78734805B895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0:39:34.639" v="3979"/>
          <ac:spMkLst>
            <pc:docMk/>
            <pc:sldMk cId="4138902201" sldId="290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1" creationId="{3A9A4357-BD1D-4622-A4FE-766E6AB8DE84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3" creationId="{E659831F-0D9A-4C63-9EBB-8435B85A440F}"/>
          </ac:spMkLst>
        </pc:spChg>
        <pc:spChg chg="add">
          <ac:chgData name="이 지상" userId="52e16c35b1c96571" providerId="LiveId" clId="{E3E1CB2B-ED93-498B-9977-258471074ACD}" dt="2021-01-13T10:40:53.813" v="4041" actId="26606"/>
          <ac:spMkLst>
            <pc:docMk/>
            <pc:sldMk cId="4138902201" sldId="290"/>
            <ac:spMk id="45" creationId="{E6995CE5-F890-4ABA-82A2-26507CE8D2A3}"/>
          </ac:spMkLst>
        </pc:spChg>
        <pc:grpChg chg="add del">
          <ac:chgData name="이 지상" userId="52e16c35b1c96571" providerId="LiveId" clId="{E3E1CB2B-ED93-498B-9977-258471074ACD}" dt="2021-01-13T10:40:53.813" v="4041" actId="26606"/>
          <ac:grpSpMkLst>
            <pc:docMk/>
            <pc:sldMk cId="4138902201" sldId="290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0:39:34.639" v="3979"/>
          <ac:grpSpMkLst>
            <pc:docMk/>
            <pc:sldMk cId="4138902201" sldId="290"/>
            <ac:grpSpMk id="3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0:39:42.847" v="3984" actId="478"/>
          <ac:picMkLst>
            <pc:docMk/>
            <pc:sldMk cId="4138902201" sldId="290"/>
            <ac:picMk id="4" creationId="{B295898B-50AB-472A-B289-1CBDC2685F95}"/>
          </ac:picMkLst>
        </pc:picChg>
        <pc:picChg chg="add del mod ord">
          <ac:chgData name="이 지상" userId="52e16c35b1c96571" providerId="LiveId" clId="{E3E1CB2B-ED93-498B-9977-258471074ACD}" dt="2021-01-13T10:40:56.167" v="4042" actId="21"/>
          <ac:picMkLst>
            <pc:docMk/>
            <pc:sldMk cId="4138902201" sldId="290"/>
            <ac:picMk id="5" creationId="{2FB61755-5EA1-4D3E-B607-AE35E3EB8A07}"/>
          </ac:picMkLst>
        </pc:picChg>
        <pc:picChg chg="add mod">
          <ac:chgData name="이 지상" userId="52e16c35b1c96571" providerId="LiveId" clId="{E3E1CB2B-ED93-498B-9977-258471074ACD}" dt="2021-01-13T10:41:41.177" v="4057" actId="1076"/>
          <ac:picMkLst>
            <pc:docMk/>
            <pc:sldMk cId="4138902201" sldId="290"/>
            <ac:picMk id="8" creationId="{C89D3C0F-7C01-434F-8846-B125B48461BB}"/>
          </ac:picMkLst>
        </pc:picChg>
        <pc:picChg chg="add del mod">
          <ac:chgData name="이 지상" userId="52e16c35b1c96571" providerId="LiveId" clId="{E3E1CB2B-ED93-498B-9977-258471074ACD}" dt="2021-01-13T10:41:02.889" v="4045" actId="478"/>
          <ac:picMkLst>
            <pc:docMk/>
            <pc:sldMk cId="4138902201" sldId="290"/>
            <ac:picMk id="25" creationId="{2ABFDDCE-408A-445B-9471-B9B7E2F8D99D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01:20.837" v="5544" actId="20577"/>
        <pc:sldMkLst>
          <pc:docMk/>
          <pc:sldMk cId="2167688922" sldId="291"/>
        </pc:sldMkLst>
        <pc:spChg chg="mod">
          <ac:chgData name="이 지상" userId="52e16c35b1c96571" providerId="LiveId" clId="{E3E1CB2B-ED93-498B-9977-258471074ACD}" dt="2021-01-13T10:53:54.473" v="5000"/>
          <ac:spMkLst>
            <pc:docMk/>
            <pc:sldMk cId="2167688922" sldId="291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01:20.837" v="5544" actId="20577"/>
          <ac:spMkLst>
            <pc:docMk/>
            <pc:sldMk cId="2167688922" sldId="291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0:53:38.997" v="4954" actId="26606"/>
          <ac:spMkLst>
            <pc:docMk/>
            <pc:sldMk cId="2167688922" sldId="291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0:53:38.997" v="4954" actId="26606"/>
          <ac:spMkLst>
            <pc:docMk/>
            <pc:sldMk cId="2167688922" sldId="291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0:53:31.085" v="4951"/>
          <ac:spMkLst>
            <pc:docMk/>
            <pc:sldMk cId="2167688922" sldId="291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0:53:31.085" v="4951"/>
          <ac:spMkLst>
            <pc:docMk/>
            <pc:sldMk cId="2167688922" sldId="291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0:53:38.997" v="4954" actId="26606"/>
          <ac:grpSpMkLst>
            <pc:docMk/>
            <pc:sldMk cId="2167688922" sldId="291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0:53:31.085" v="4951"/>
          <ac:grpSpMkLst>
            <pc:docMk/>
            <pc:sldMk cId="2167688922" sldId="291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16:12.839" v="6464" actId="20577"/>
        <pc:sldMkLst>
          <pc:docMk/>
          <pc:sldMk cId="588940706" sldId="292"/>
        </pc:sldMkLst>
        <pc:spChg chg="mod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1:16:12.839" v="6464" actId="20577"/>
          <ac:spMkLst>
            <pc:docMk/>
            <pc:sldMk cId="588940706" sldId="292"/>
            <ac:spMk id="20" creationId="{3D9AA2F2-A2D5-45F5-95DF-5A17105A0F4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6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29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5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36" creationId="{6ECA6DCB-B7E1-40A9-9524-540C6DA40B1B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7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38" creationId="{6ECA6DCB-B7E1-40A9-9524-540C6DA40B1B}"/>
          </ac:spMkLst>
        </pc:spChg>
        <pc:spChg chg="del">
          <ac:chgData name="이 지상" userId="52e16c35b1c96571" providerId="LiveId" clId="{E3E1CB2B-ED93-498B-9977-258471074ACD}" dt="2021-01-13T11:01:56.323" v="5546"/>
          <ac:spMkLst>
            <pc:docMk/>
            <pc:sldMk cId="588940706" sldId="292"/>
            <ac:spMk id="39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5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7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4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49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1:07:37.824" v="5889" actId="26606"/>
          <ac:spMkLst>
            <pc:docMk/>
            <pc:sldMk cId="588940706" sldId="292"/>
            <ac:spMk id="51" creationId="{8CB5D2D7-DF65-4E86-BFBA-FFB9B5ACEB64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2" creationId="{19C9EAEA-39D0-4B0E-A0EB-51E7B26740B1}"/>
          </ac:spMkLst>
        </pc:spChg>
        <pc:spChg chg="add del">
          <ac:chgData name="이 지상" userId="52e16c35b1c96571" providerId="LiveId" clId="{E3E1CB2B-ED93-498B-9977-258471074ACD}" dt="2021-01-13T11:08:07.032" v="5903" actId="26606"/>
          <ac:spMkLst>
            <pc:docMk/>
            <pc:sldMk cId="588940706" sldId="292"/>
            <ac:spMk id="53" creationId="{8CB5D2D7-DF65-4E86-BFBA-FFB9B5ACEB64}"/>
          </ac:spMkLst>
        </pc:spChg>
        <pc:grpChg chg="add del">
          <ac:chgData name="이 지상" userId="52e16c35b1c96571" providerId="LiveId" clId="{E3E1CB2B-ED93-498B-9977-258471074ACD}" dt="2021-01-13T11:08:07.032" v="5903" actId="26606"/>
          <ac:grpSpMkLst>
            <pc:docMk/>
            <pc:sldMk cId="588940706" sldId="292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01:56.323" v="5546"/>
          <ac:grpSpMkLst>
            <pc:docMk/>
            <pc:sldMk cId="588940706" sldId="292"/>
            <ac:grpSpMk id="31" creationId="{1DE889C7-FAD6-4397-98E2-05D503484459}"/>
          </ac:grpSpMkLst>
        </pc:grpChg>
        <pc:grpChg chg="add del">
          <ac:chgData name="이 지상" userId="52e16c35b1c96571" providerId="LiveId" clId="{E3E1CB2B-ED93-498B-9977-258471074ACD}" dt="2021-01-13T11:08:07.032" v="5903" actId="26606"/>
          <ac:grpSpMkLst>
            <pc:docMk/>
            <pc:sldMk cId="588940706" sldId="292"/>
            <ac:grpSpMk id="40" creationId="{1DE889C7-FAD6-4397-98E2-05D503484459}"/>
          </ac:grpSpMkLst>
        </pc:grpChg>
        <pc:grpChg chg="add del">
          <ac:chgData name="이 지상" userId="52e16c35b1c96571" providerId="LiveId" clId="{E3E1CB2B-ED93-498B-9977-258471074ACD}" dt="2021-01-13T11:07:37.824" v="5889" actId="26606"/>
          <ac:grpSpMkLst>
            <pc:docMk/>
            <pc:sldMk cId="588940706" sldId="292"/>
            <ac:grpSpMk id="4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1:02:38.548" v="5603" actId="478"/>
          <ac:picMkLst>
            <pc:docMk/>
            <pc:sldMk cId="588940706" sldId="292"/>
            <ac:picMk id="4" creationId="{B295898B-50AB-472A-B289-1CBDC2685F95}"/>
          </ac:picMkLst>
        </pc:picChg>
        <pc:picChg chg="add mod ord">
          <ac:chgData name="이 지상" userId="52e16c35b1c96571" providerId="LiveId" clId="{E3E1CB2B-ED93-498B-9977-258471074ACD}" dt="2021-01-13T11:08:38.368" v="5915" actId="1076"/>
          <ac:picMkLst>
            <pc:docMk/>
            <pc:sldMk cId="588940706" sldId="292"/>
            <ac:picMk id="5" creationId="{FD11E8DF-392C-4F91-97BD-BEDB753DBADF}"/>
          </ac:picMkLst>
        </pc:picChg>
        <pc:picChg chg="add del mod ord">
          <ac:chgData name="이 지상" userId="52e16c35b1c96571" providerId="LiveId" clId="{E3E1CB2B-ED93-498B-9977-258471074ACD}" dt="2021-01-13T11:08:08.077" v="5904" actId="22"/>
          <ac:picMkLst>
            <pc:docMk/>
            <pc:sldMk cId="588940706" sldId="292"/>
            <ac:picMk id="8" creationId="{E1254F8E-B593-4EBC-8BAD-2BA4950DE9CC}"/>
          </ac:picMkLst>
        </pc:picChg>
        <pc:picChg chg="add mod">
          <ac:chgData name="이 지상" userId="52e16c35b1c96571" providerId="LiveId" clId="{E3E1CB2B-ED93-498B-9977-258471074ACD}" dt="2021-01-13T11:08:36.327" v="5914" actId="1076"/>
          <ac:picMkLst>
            <pc:docMk/>
            <pc:sldMk cId="588940706" sldId="292"/>
            <ac:picMk id="10" creationId="{BEB0E130-7AE7-491D-A952-73744B1348FC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36:38.975" v="8092" actId="20577"/>
        <pc:sldMkLst>
          <pc:docMk/>
          <pc:sldMk cId="4177396927" sldId="293"/>
        </pc:sldMkLst>
        <pc:spChg chg="mod">
          <ac:chgData name="이 지상" userId="52e16c35b1c96571" providerId="LiveId" clId="{E3E1CB2B-ED93-498B-9977-258471074ACD}" dt="2021-01-13T11:29:59.034" v="7423" actId="255"/>
          <ac:spMkLst>
            <pc:docMk/>
            <pc:sldMk cId="4177396927" sldId="29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36:38.975" v="8092" actId="20577"/>
          <ac:spMkLst>
            <pc:docMk/>
            <pc:sldMk cId="4177396927" sldId="293"/>
            <ac:spMk id="20" creationId="{3D9AA2F2-A2D5-45F5-95DF-5A17105A0F4B}"/>
          </ac:spMkLst>
        </pc:spChg>
        <pc:spChg chg="mod">
          <ac:chgData name="이 지상" userId="52e16c35b1c96571" providerId="LiveId" clId="{E3E1CB2B-ED93-498B-9977-258471074ACD}" dt="2021-01-13T11:33:03.846" v="7947" actId="14100"/>
          <ac:spMkLst>
            <pc:docMk/>
            <pc:sldMk cId="4177396927" sldId="293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26" creationId="{201CC55D-ED54-4C5C-95E6-10947BD1103B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29" creationId="{201CC55D-ED54-4C5C-95E6-10947BD1103B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1:29:14.185" v="7312" actId="26606"/>
          <ac:spMkLst>
            <pc:docMk/>
            <pc:sldMk cId="4177396927" sldId="293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1:01:56.557" v="5548"/>
          <ac:spMkLst>
            <pc:docMk/>
            <pc:sldMk cId="4177396927" sldId="293"/>
            <ac:spMk id="39" creationId="{19C9EAEA-39D0-4B0E-A0EB-51E7B26740B1}"/>
          </ac:spMkLst>
        </pc:spChg>
        <pc:grpChg chg="add">
          <ac:chgData name="이 지상" userId="52e16c35b1c96571" providerId="LiveId" clId="{E3E1CB2B-ED93-498B-9977-258471074ACD}" dt="2021-01-13T11:29:14.185" v="7312" actId="26606"/>
          <ac:grpSpMkLst>
            <pc:docMk/>
            <pc:sldMk cId="4177396927" sldId="293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01:56.557" v="5548"/>
          <ac:grpSpMkLst>
            <pc:docMk/>
            <pc:sldMk cId="4177396927" sldId="293"/>
            <ac:grpSpMk id="31" creationId="{1DE889C7-FAD6-4397-98E2-05D503484459}"/>
          </ac:grpSpMkLst>
        </pc:grpChg>
        <pc:picChg chg="del mod ord">
          <ac:chgData name="이 지상" userId="52e16c35b1c96571" providerId="LiveId" clId="{E3E1CB2B-ED93-498B-9977-258471074ACD}" dt="2021-01-13T11:30:00.493" v="7424" actId="478"/>
          <ac:picMkLst>
            <pc:docMk/>
            <pc:sldMk cId="4177396927" sldId="293"/>
            <ac:picMk id="4" creationId="{B295898B-50AB-472A-B289-1CBDC2685F95}"/>
          </ac:picMkLst>
        </pc:picChg>
        <pc:picChg chg="add mod">
          <ac:chgData name="이 지상" userId="52e16c35b1c96571" providerId="LiveId" clId="{E3E1CB2B-ED93-498B-9977-258471074ACD}" dt="2021-01-13T11:30:42.961" v="7435" actId="1076"/>
          <ac:picMkLst>
            <pc:docMk/>
            <pc:sldMk cId="4177396927" sldId="293"/>
            <ac:picMk id="5" creationId="{C152D0F4-CFD3-4B4A-B559-A1EA0D0F4F34}"/>
          </ac:picMkLst>
        </pc:picChg>
        <pc:picChg chg="add mod">
          <ac:chgData name="이 지상" userId="52e16c35b1c96571" providerId="LiveId" clId="{E3E1CB2B-ED93-498B-9977-258471074ACD}" dt="2021-01-13T11:30:46.679" v="7438" actId="1076"/>
          <ac:picMkLst>
            <pc:docMk/>
            <pc:sldMk cId="4177396927" sldId="293"/>
            <ac:picMk id="8" creationId="{6DFDC4E6-1F03-4F98-B7BC-A1BC01076A2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28:02.893" v="7311" actId="20577"/>
        <pc:sldMkLst>
          <pc:docMk/>
          <pc:sldMk cId="4044710872" sldId="294"/>
        </pc:sldMkLst>
        <pc:spChg chg="mod">
          <ac:chgData name="이 지상" userId="52e16c35b1c96571" providerId="LiveId" clId="{E3E1CB2B-ED93-498B-9977-258471074ACD}" dt="2021-01-13T11:20:23.515" v="6572" actId="1076"/>
          <ac:spMkLst>
            <pc:docMk/>
            <pc:sldMk cId="4044710872" sldId="294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28:02.893" v="7311" actId="20577"/>
          <ac:spMkLst>
            <pc:docMk/>
            <pc:sldMk cId="4044710872" sldId="294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1:16:27.141" v="6466"/>
          <ac:spMkLst>
            <pc:docMk/>
            <pc:sldMk cId="4044710872" sldId="294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1:16:27.141" v="6466"/>
          <ac:spMkLst>
            <pc:docMk/>
            <pc:sldMk cId="4044710872" sldId="294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1:16:33.998" v="6469" actId="26606"/>
          <ac:spMkLst>
            <pc:docMk/>
            <pc:sldMk cId="4044710872" sldId="294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1:16:33.998" v="6469" actId="26606"/>
          <ac:spMkLst>
            <pc:docMk/>
            <pc:sldMk cId="4044710872" sldId="294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1:16:27.141" v="6466"/>
          <ac:grpSpMkLst>
            <pc:docMk/>
            <pc:sldMk cId="4044710872" sldId="294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1:16:33.998" v="6469" actId="26606"/>
          <ac:grpSpMkLst>
            <pc:docMk/>
            <pc:sldMk cId="4044710872" sldId="294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50:16.364" v="9634" actId="20577"/>
        <pc:sldMkLst>
          <pc:docMk/>
          <pc:sldMk cId="4106414684" sldId="295"/>
        </pc:sldMkLst>
        <pc:spChg chg="mod">
          <ac:chgData name="이 지상" userId="52e16c35b1c96571" providerId="LiveId" clId="{E3E1CB2B-ED93-498B-9977-258471074ACD}" dt="2021-01-13T11:40:06.492" v="8126"/>
          <ac:spMkLst>
            <pc:docMk/>
            <pc:sldMk cId="4106414684" sldId="295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50:16.364" v="9634" actId="20577"/>
          <ac:spMkLst>
            <pc:docMk/>
            <pc:sldMk cId="4106414684" sldId="295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1:39:01.963" v="8097" actId="26606"/>
          <ac:spMkLst>
            <pc:docMk/>
            <pc:sldMk cId="4106414684" sldId="295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1:39:01.963" v="8097" actId="26606"/>
          <ac:spMkLst>
            <pc:docMk/>
            <pc:sldMk cId="4106414684" sldId="295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1:38:46.840" v="8094"/>
          <ac:spMkLst>
            <pc:docMk/>
            <pc:sldMk cId="4106414684" sldId="295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1:38:46.840" v="8094"/>
          <ac:spMkLst>
            <pc:docMk/>
            <pc:sldMk cId="4106414684" sldId="295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1:39:01.963" v="8097" actId="26606"/>
          <ac:grpSpMkLst>
            <pc:docMk/>
            <pc:sldMk cId="4106414684" sldId="295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1:38:46.840" v="8094"/>
          <ac:grpSpMkLst>
            <pc:docMk/>
            <pc:sldMk cId="4106414684" sldId="295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1:56:50.301" v="10171" actId="27636"/>
        <pc:sldMkLst>
          <pc:docMk/>
          <pc:sldMk cId="3656111672" sldId="296"/>
        </pc:sldMkLst>
        <pc:spChg chg="mod">
          <ac:chgData name="이 지상" userId="52e16c35b1c96571" providerId="LiveId" clId="{E3E1CB2B-ED93-498B-9977-258471074ACD}" dt="2021-01-13T11:52:54.952" v="9718" actId="20577"/>
          <ac:spMkLst>
            <pc:docMk/>
            <pc:sldMk cId="3656111672" sldId="29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56:50.301" v="10171" actId="27636"/>
          <ac:spMkLst>
            <pc:docMk/>
            <pc:sldMk cId="3656111672" sldId="296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1:50:29.922" v="9635" actId="26606"/>
          <ac:spMkLst>
            <pc:docMk/>
            <pc:sldMk cId="3656111672" sldId="296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1:50:29.922" v="9635" actId="26606"/>
          <ac:spMkLst>
            <pc:docMk/>
            <pc:sldMk cId="3656111672" sldId="296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1:42:36.323" v="8537"/>
          <ac:spMkLst>
            <pc:docMk/>
            <pc:sldMk cId="3656111672" sldId="296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1:42:36.323" v="8537"/>
          <ac:spMkLst>
            <pc:docMk/>
            <pc:sldMk cId="3656111672" sldId="296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1:50:29.922" v="9635" actId="26606"/>
          <ac:grpSpMkLst>
            <pc:docMk/>
            <pc:sldMk cId="3656111672" sldId="296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1:42:36.323" v="8537"/>
          <ac:grpSpMkLst>
            <pc:docMk/>
            <pc:sldMk cId="3656111672" sldId="296"/>
            <ac:grpSpMk id="14" creationId="{28FAF094-D087-493F-8DF9-A486C2D6BBAA}"/>
          </ac:grpSpMkLst>
        </pc:grpChg>
      </pc:sldChg>
      <pc:sldChg chg="addSp delSp modSp add del mod ord setBg delDesignElem">
        <pc:chgData name="이 지상" userId="52e16c35b1c96571" providerId="LiveId" clId="{E3E1CB2B-ED93-498B-9977-258471074ACD}" dt="2021-01-13T11:43:19.152" v="8547" actId="2696"/>
        <pc:sldMkLst>
          <pc:docMk/>
          <pc:sldMk cId="1769193371" sldId="297"/>
        </pc:sldMkLst>
        <pc:spChg chg="mo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7" creationId="{2260A6A2-82F8-410C-B05D-F9F149C06749}"/>
          </ac:spMkLst>
        </pc:spChg>
        <pc:spChg chg="or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0" creationId="{3D9AA2F2-A2D5-45F5-95DF-5A17105A0F4B}"/>
          </ac:spMkLst>
        </pc:spChg>
        <pc:spChg chg="or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4" creationId="{D52E601E-10DE-400B-82DB-ED97179B4ADE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26" creationId="{201CC55D-ED54-4C5C-95E6-10947BD1103B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1:43:02.157" v="8541"/>
          <ac:spMkLst>
            <pc:docMk/>
            <pc:sldMk cId="1769193371" sldId="297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07.837" v="8544" actId="26606"/>
          <ac:spMkLst>
            <pc:docMk/>
            <pc:sldMk cId="1769193371" sldId="297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1:43:02.157" v="8541"/>
          <ac:grpSpMkLst>
            <pc:docMk/>
            <pc:sldMk cId="1769193371" sldId="297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1:43:07.837" v="8544" actId="26606"/>
          <ac:grpSpMkLst>
            <pc:docMk/>
            <pc:sldMk cId="1769193371" sldId="297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1:43:09.203" v="8545" actId="478"/>
          <ac:picMkLst>
            <pc:docMk/>
            <pc:sldMk cId="1769193371" sldId="297"/>
            <ac:picMk id="5" creationId="{C152D0F4-CFD3-4B4A-B559-A1EA0D0F4F34}"/>
          </ac:picMkLst>
        </pc:picChg>
        <pc:picChg chg="del mod">
          <ac:chgData name="이 지상" userId="52e16c35b1c96571" providerId="LiveId" clId="{E3E1CB2B-ED93-498B-9977-258471074ACD}" dt="2021-01-13T11:43:09.856" v="8546" actId="478"/>
          <ac:picMkLst>
            <pc:docMk/>
            <pc:sldMk cId="1769193371" sldId="297"/>
            <ac:picMk id="8" creationId="{6DFDC4E6-1F03-4F98-B7BC-A1BC01076A21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1:49:49.747" v="9622" actId="20577"/>
        <pc:sldMkLst>
          <pc:docMk/>
          <pc:sldMk cId="2090210189" sldId="297"/>
        </pc:sldMkLst>
        <pc:spChg chg="mod">
          <ac:chgData name="이 지상" userId="52e16c35b1c96571" providerId="LiveId" clId="{E3E1CB2B-ED93-498B-9977-258471074ACD}" dt="2021-01-13T11:46:22.894" v="8846" actId="27636"/>
          <ac:spMkLst>
            <pc:docMk/>
            <pc:sldMk cId="2090210189" sldId="29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7" creationId="{2260A6A2-82F8-410C-B05D-F9F149C06749}"/>
          </ac:spMkLst>
        </pc:spChg>
        <pc:spChg chg="mod">
          <ac:chgData name="이 지상" userId="52e16c35b1c96571" providerId="LiveId" clId="{E3E1CB2B-ED93-498B-9977-258471074ACD}" dt="2021-01-13T11:49:49.747" v="9622" actId="20577"/>
          <ac:spMkLst>
            <pc:docMk/>
            <pc:sldMk cId="2090210189" sldId="297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26" creationId="{201CC55D-ED54-4C5C-95E6-10947BD1103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1:43:23.627" v="8549"/>
          <ac:spMkLst>
            <pc:docMk/>
            <pc:sldMk cId="2090210189" sldId="297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1:43:29.965" v="8552" actId="26606"/>
          <ac:spMkLst>
            <pc:docMk/>
            <pc:sldMk cId="2090210189" sldId="297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1:43:23.627" v="8549"/>
          <ac:grpSpMkLst>
            <pc:docMk/>
            <pc:sldMk cId="2090210189" sldId="297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1:43:29.965" v="8552" actId="26606"/>
          <ac:grpSpMkLst>
            <pc:docMk/>
            <pc:sldMk cId="2090210189" sldId="297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1:45:48.674" v="8768" actId="1076"/>
          <ac:picMkLst>
            <pc:docMk/>
            <pc:sldMk cId="2090210189" sldId="297"/>
            <ac:picMk id="4" creationId="{D97DA832-5096-4753-9F7E-A9A9126389A2}"/>
          </ac:picMkLst>
        </pc:picChg>
        <pc:picChg chg="del mod ord">
          <ac:chgData name="이 지상" userId="52e16c35b1c96571" providerId="LiveId" clId="{E3E1CB2B-ED93-498B-9977-258471074ACD}" dt="2021-01-13T11:43:34.095" v="8554" actId="478"/>
          <ac:picMkLst>
            <pc:docMk/>
            <pc:sldMk cId="2090210189" sldId="297"/>
            <ac:picMk id="5" creationId="{FD11E8DF-392C-4F91-97BD-BEDB753DBADF}"/>
          </ac:picMkLst>
        </pc:picChg>
        <pc:picChg chg="add mod">
          <ac:chgData name="이 지상" userId="52e16c35b1c96571" providerId="LiveId" clId="{E3E1CB2B-ED93-498B-9977-258471074ACD}" dt="2021-01-13T11:45:47.418" v="8767" actId="1076"/>
          <ac:picMkLst>
            <pc:docMk/>
            <pc:sldMk cId="2090210189" sldId="297"/>
            <ac:picMk id="8" creationId="{DB9435A9-51F5-4BEA-A79B-A2268DEC08ED}"/>
          </ac:picMkLst>
        </pc:picChg>
        <pc:picChg chg="del mod ord">
          <ac:chgData name="이 지상" userId="52e16c35b1c96571" providerId="LiveId" clId="{E3E1CB2B-ED93-498B-9977-258471074ACD}" dt="2021-01-13T11:43:36.374" v="8555" actId="478"/>
          <ac:picMkLst>
            <pc:docMk/>
            <pc:sldMk cId="2090210189" sldId="297"/>
            <ac:picMk id="10" creationId="{BEB0E130-7AE7-491D-A952-73744B1348FC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03:39.950" v="10835" actId="14100"/>
        <pc:sldMkLst>
          <pc:docMk/>
          <pc:sldMk cId="78567017" sldId="298"/>
        </pc:sldMkLst>
        <pc:spChg chg="mod">
          <ac:chgData name="이 지상" userId="52e16c35b1c96571" providerId="LiveId" clId="{E3E1CB2B-ED93-498B-9977-258471074ACD}" dt="2021-01-13T11:57:26.058" v="10259" actId="255"/>
          <ac:spMkLst>
            <pc:docMk/>
            <pc:sldMk cId="78567017" sldId="298"/>
            <ac:spMk id="2" creationId="{4803AC60-B1EB-4F45-9FAD-7E1C0E21014C}"/>
          </ac:spMkLst>
        </pc:spChg>
        <pc:spChg chg="mod ord">
          <ac:chgData name="이 지상" userId="52e16c35b1c96571" providerId="LiveId" clId="{E3E1CB2B-ED93-498B-9977-258471074ACD}" dt="2021-01-13T12:03:39.950" v="10835" actId="14100"/>
          <ac:spMkLst>
            <pc:docMk/>
            <pc:sldMk cId="78567017" sldId="298"/>
            <ac:spMk id="20" creationId="{3D9AA2F2-A2D5-45F5-95DF-5A17105A0F4B}"/>
          </ac:spMkLst>
        </pc:spChg>
        <pc:spChg chg="or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4" creationId="{D52E601E-10DE-400B-82DB-ED97179B4ADE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6" creationId="{6ECA6DCB-B7E1-40A9-9524-540C6DA40B1B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28" creationId="{3873B707-463F-40B0-8227-E8CC6C67EB25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29" creationId="{6ECA6DCB-B7E1-40A9-9524-540C6DA40B1B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0" creationId="{C13237C8-E62C-4F0D-A318-BD6FB6C2D138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4" creationId="{19C9EAEA-39D0-4B0E-A0EB-51E7B26740B1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5" creationId="{3873B707-463F-40B0-8227-E8CC6C67EB25}"/>
          </ac:spMkLst>
        </pc:spChg>
        <pc:spChg chg="add">
          <ac:chgData name="이 지상" userId="52e16c35b1c96571" providerId="LiveId" clId="{E3E1CB2B-ED93-498B-9977-258471074ACD}" dt="2021-01-13T11:56:55.617" v="10172" actId="26606"/>
          <ac:spMkLst>
            <pc:docMk/>
            <pc:sldMk cId="78567017" sldId="298"/>
            <ac:spMk id="36" creationId="{8CB5D2D7-DF65-4E86-BFBA-FFB9B5ACEB64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7" creationId="{C13237C8-E62C-4F0D-A318-BD6FB6C2D138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39" creationId="{19C9EAEA-39D0-4B0E-A0EB-51E7B26740B1}"/>
          </ac:spMkLst>
        </pc:spChg>
        <pc:spChg chg="del">
          <ac:chgData name="이 지상" userId="52e16c35b1c96571" providerId="LiveId" clId="{E3E1CB2B-ED93-498B-9977-258471074ACD}" dt="2021-01-13T11:51:01.190" v="9679"/>
          <ac:spMkLst>
            <pc:docMk/>
            <pc:sldMk cId="78567017" sldId="298"/>
            <ac:spMk id="41" creationId="{8CB5D2D7-DF65-4E86-BFBA-FFB9B5ACEB64}"/>
          </ac:spMkLst>
        </pc:spChg>
        <pc:grpChg chg="add">
          <ac:chgData name="이 지상" userId="52e16c35b1c96571" providerId="LiveId" clId="{E3E1CB2B-ED93-498B-9977-258471074ACD}" dt="2021-01-13T11:56:55.617" v="10172" actId="26606"/>
          <ac:grpSpMkLst>
            <pc:docMk/>
            <pc:sldMk cId="78567017" sldId="298"/>
            <ac:grpSpMk id="27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1:51:01.190" v="9679"/>
          <ac:grpSpMkLst>
            <pc:docMk/>
            <pc:sldMk cId="78567017" sldId="298"/>
            <ac:grpSpMk id="31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2:00:58.613" v="10664" actId="478"/>
          <ac:picMkLst>
            <pc:docMk/>
            <pc:sldMk cId="78567017" sldId="298"/>
            <ac:picMk id="4" creationId="{D97DA832-5096-4753-9F7E-A9A9126389A2}"/>
          </ac:picMkLst>
        </pc:picChg>
        <pc:picChg chg="add mod">
          <ac:chgData name="이 지상" userId="52e16c35b1c96571" providerId="LiveId" clId="{E3E1CB2B-ED93-498B-9977-258471074ACD}" dt="2021-01-13T12:01:09.106" v="10669" actId="1076"/>
          <ac:picMkLst>
            <pc:docMk/>
            <pc:sldMk cId="78567017" sldId="298"/>
            <ac:picMk id="5" creationId="{4C3AAF7F-82A6-4600-94E3-E8396B89615C}"/>
          </ac:picMkLst>
        </pc:picChg>
        <pc:picChg chg="del mod">
          <ac:chgData name="이 지상" userId="52e16c35b1c96571" providerId="LiveId" clId="{E3E1CB2B-ED93-498B-9977-258471074ACD}" dt="2021-01-13T12:01:10.037" v="10670" actId="478"/>
          <ac:picMkLst>
            <pc:docMk/>
            <pc:sldMk cId="78567017" sldId="298"/>
            <ac:picMk id="8" creationId="{DB9435A9-51F5-4BEA-A79B-A2268DEC08ED}"/>
          </ac:picMkLst>
        </pc:picChg>
        <pc:picChg chg="add mod">
          <ac:chgData name="이 지상" userId="52e16c35b1c96571" providerId="LiveId" clId="{E3E1CB2B-ED93-498B-9977-258471074ACD}" dt="2021-01-13T12:01:34.407" v="10675" actId="14100"/>
          <ac:picMkLst>
            <pc:docMk/>
            <pc:sldMk cId="78567017" sldId="298"/>
            <ac:picMk id="9" creationId="{33CF0260-ECD0-494C-9D4F-08A41C803FCB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14:56.533" v="11613" actId="255"/>
        <pc:sldMkLst>
          <pc:docMk/>
          <pc:sldMk cId="2130287969" sldId="299"/>
        </pc:sldMkLst>
        <pc:spChg chg="mod">
          <ac:chgData name="이 지상" userId="52e16c35b1c96571" providerId="LiveId" clId="{E3E1CB2B-ED93-498B-9977-258471074ACD}" dt="2021-01-13T12:14:56.533" v="11613" actId="255"/>
          <ac:spMkLst>
            <pc:docMk/>
            <pc:sldMk cId="2130287969" sldId="299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14:36.744" v="11612" actId="20577"/>
          <ac:spMkLst>
            <pc:docMk/>
            <pc:sldMk cId="2130287969" sldId="299"/>
            <ac:spMk id="20" creationId="{3D9AA2F2-A2D5-45F5-95DF-5A17105A0F4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26" creationId="{6ECA6DCB-B7E1-40A9-9524-540C6DA40B1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28" creationId="{3873B707-463F-40B0-8227-E8CC6C67EB25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29" creationId="{6ECA6DCB-B7E1-40A9-9524-540C6DA40B1B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0" creationId="{C13237C8-E62C-4F0D-A318-BD6FB6C2D138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4" creationId="{19C9EAEA-39D0-4B0E-A0EB-51E7B26740B1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5" creationId="{3873B707-463F-40B0-8227-E8CC6C67EB25}"/>
          </ac:spMkLst>
        </pc:spChg>
        <pc:spChg chg="del">
          <ac:chgData name="이 지상" userId="52e16c35b1c96571" providerId="LiveId" clId="{E3E1CB2B-ED93-498B-9977-258471074ACD}" dt="2021-01-13T12:06:42.136" v="10837"/>
          <ac:spMkLst>
            <pc:docMk/>
            <pc:sldMk cId="2130287969" sldId="299"/>
            <ac:spMk id="36" creationId="{8CB5D2D7-DF65-4E86-BFBA-FFB9B5ACEB64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7" creationId="{C13237C8-E62C-4F0D-A318-BD6FB6C2D138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39" creationId="{19C9EAEA-39D0-4B0E-A0EB-51E7B26740B1}"/>
          </ac:spMkLst>
        </pc:spChg>
        <pc:spChg chg="add">
          <ac:chgData name="이 지상" userId="52e16c35b1c96571" providerId="LiveId" clId="{E3E1CB2B-ED93-498B-9977-258471074ACD}" dt="2021-01-13T12:06:49.190" v="10838" actId="26606"/>
          <ac:spMkLst>
            <pc:docMk/>
            <pc:sldMk cId="2130287969" sldId="299"/>
            <ac:spMk id="41" creationId="{8CB5D2D7-DF65-4E86-BFBA-FFB9B5ACEB64}"/>
          </ac:spMkLst>
        </pc:spChg>
        <pc:grpChg chg="del">
          <ac:chgData name="이 지상" userId="52e16c35b1c96571" providerId="LiveId" clId="{E3E1CB2B-ED93-498B-9977-258471074ACD}" dt="2021-01-13T12:06:42.136" v="10837"/>
          <ac:grpSpMkLst>
            <pc:docMk/>
            <pc:sldMk cId="2130287969" sldId="299"/>
            <ac:grpSpMk id="27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2:06:49.190" v="10838" actId="26606"/>
          <ac:grpSpMkLst>
            <pc:docMk/>
            <pc:sldMk cId="2130287969" sldId="299"/>
            <ac:grpSpMk id="31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08:43.191" v="10915" actId="1076"/>
          <ac:picMkLst>
            <pc:docMk/>
            <pc:sldMk cId="2130287969" sldId="299"/>
            <ac:picMk id="4" creationId="{528A4968-E748-47BE-AB63-2FC57D77AA97}"/>
          </ac:picMkLst>
        </pc:picChg>
        <pc:picChg chg="del mod ord">
          <ac:chgData name="이 지상" userId="52e16c35b1c96571" providerId="LiveId" clId="{E3E1CB2B-ED93-498B-9977-258471074ACD}" dt="2021-01-13T12:06:50.869" v="10841" actId="478"/>
          <ac:picMkLst>
            <pc:docMk/>
            <pc:sldMk cId="2130287969" sldId="299"/>
            <ac:picMk id="5" creationId="{4C3AAF7F-82A6-4600-94E3-E8396B89615C}"/>
          </ac:picMkLst>
        </pc:picChg>
        <pc:picChg chg="add mod">
          <ac:chgData name="이 지상" userId="52e16c35b1c96571" providerId="LiveId" clId="{E3E1CB2B-ED93-498B-9977-258471074ACD}" dt="2021-01-13T12:08:56.985" v="10918" actId="1076"/>
          <ac:picMkLst>
            <pc:docMk/>
            <pc:sldMk cId="2130287969" sldId="299"/>
            <ac:picMk id="8" creationId="{084A11DA-B2BC-4E85-AF44-302CF399615D}"/>
          </ac:picMkLst>
        </pc:picChg>
        <pc:picChg chg="del mod ord">
          <ac:chgData name="이 지상" userId="52e16c35b1c96571" providerId="LiveId" clId="{E3E1CB2B-ED93-498B-9977-258471074ACD}" dt="2021-01-13T12:06:50.489" v="10839" actId="478"/>
          <ac:picMkLst>
            <pc:docMk/>
            <pc:sldMk cId="2130287969" sldId="299"/>
            <ac:picMk id="9" creationId="{33CF0260-ECD0-494C-9D4F-08A41C803FCB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2:17:59.346" v="12185" actId="255"/>
        <pc:sldMkLst>
          <pc:docMk/>
          <pc:sldMk cId="1137170407" sldId="300"/>
        </pc:sldMkLst>
        <pc:spChg chg="mod">
          <ac:chgData name="이 지상" userId="52e16c35b1c96571" providerId="LiveId" clId="{E3E1CB2B-ED93-498B-9977-258471074ACD}" dt="2021-01-13T12:12:56.784" v="11545"/>
          <ac:spMkLst>
            <pc:docMk/>
            <pc:sldMk cId="1137170407" sldId="30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17:59.346" v="12185" actId="255"/>
          <ac:spMkLst>
            <pc:docMk/>
            <pc:sldMk cId="1137170407" sldId="300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12:28.116" v="11504"/>
          <ac:spMkLst>
            <pc:docMk/>
            <pc:sldMk cId="1137170407" sldId="300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12:28.116" v="11504"/>
          <ac:spMkLst>
            <pc:docMk/>
            <pc:sldMk cId="1137170407" sldId="300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2:12:39.217" v="11511" actId="26606"/>
          <ac:spMkLst>
            <pc:docMk/>
            <pc:sldMk cId="1137170407" sldId="300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2:12:39.217" v="11511" actId="26606"/>
          <ac:spMkLst>
            <pc:docMk/>
            <pc:sldMk cId="1137170407" sldId="300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12:28.116" v="11504"/>
          <ac:grpSpMkLst>
            <pc:docMk/>
            <pc:sldMk cId="1137170407" sldId="300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12:39.217" v="11511" actId="26606"/>
          <ac:grpSpMkLst>
            <pc:docMk/>
            <pc:sldMk cId="1137170407" sldId="300"/>
            <ac:grpSpMk id="14" creationId="{28FAF094-D087-493F-8DF9-A486C2D6BBAA}"/>
          </ac:grpSpMkLst>
        </pc:grpChg>
      </pc:sldChg>
      <pc:sldChg chg="addSp delSp modSp add mod ord setBg delDesignElem">
        <pc:chgData name="이 지상" userId="52e16c35b1c96571" providerId="LiveId" clId="{E3E1CB2B-ED93-498B-9977-258471074ACD}" dt="2021-01-13T12:22:47.380" v="13155" actId="14100"/>
        <pc:sldMkLst>
          <pc:docMk/>
          <pc:sldMk cId="826452187" sldId="301"/>
        </pc:sldMkLst>
        <pc:spChg chg="mod">
          <ac:chgData name="이 지상" userId="52e16c35b1c96571" providerId="LiveId" clId="{E3E1CB2B-ED93-498B-9977-258471074ACD}" dt="2021-01-13T12:13:03.771" v="11563"/>
          <ac:spMkLst>
            <pc:docMk/>
            <pc:sldMk cId="826452187" sldId="301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22:47.380" v="13155" actId="14100"/>
          <ac:spMkLst>
            <pc:docMk/>
            <pc:sldMk cId="826452187" sldId="301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12:28.778" v="11506"/>
          <ac:spMkLst>
            <pc:docMk/>
            <pc:sldMk cId="826452187" sldId="301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12:28.778" v="11506"/>
          <ac:spMkLst>
            <pc:docMk/>
            <pc:sldMk cId="826452187" sldId="301"/>
            <ac:spMk id="11" creationId="{E659831F-0D9A-4C63-9EBB-8435B85A440F}"/>
          </ac:spMkLst>
        </pc:spChg>
        <pc:spChg chg="add">
          <ac:chgData name="이 지상" userId="52e16c35b1c96571" providerId="LiveId" clId="{E3E1CB2B-ED93-498B-9977-258471074ACD}" dt="2021-01-13T12:12:41.839" v="11512" actId="26606"/>
          <ac:spMkLst>
            <pc:docMk/>
            <pc:sldMk cId="826452187" sldId="301"/>
            <ac:spMk id="12" creationId="{DBF61EA3-B236-439E-9C0B-340980D56BEE}"/>
          </ac:spMkLst>
        </pc:spChg>
        <pc:spChg chg="add">
          <ac:chgData name="이 지상" userId="52e16c35b1c96571" providerId="LiveId" clId="{E3E1CB2B-ED93-498B-9977-258471074ACD}" dt="2021-01-13T12:12:41.839" v="11512" actId="26606"/>
          <ac:spMkLst>
            <pc:docMk/>
            <pc:sldMk cId="826452187" sldId="301"/>
            <ac:spMk id="18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12:28.778" v="11506"/>
          <ac:grpSpMkLst>
            <pc:docMk/>
            <pc:sldMk cId="826452187" sldId="301"/>
            <ac:grpSpMk id="10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12:41.839" v="11512" actId="26606"/>
          <ac:grpSpMkLst>
            <pc:docMk/>
            <pc:sldMk cId="826452187" sldId="301"/>
            <ac:grpSpMk id="14" creationId="{28FAF094-D087-493F-8DF9-A486C2D6BBAA}"/>
          </ac:grpSpMkLst>
        </pc:grpChg>
      </pc:sldChg>
      <pc:sldChg chg="modSp add mod">
        <pc:chgData name="이 지상" userId="52e16c35b1c96571" providerId="LiveId" clId="{E3E1CB2B-ED93-498B-9977-258471074ACD}" dt="2021-01-13T12:24:32.528" v="13232"/>
        <pc:sldMkLst>
          <pc:docMk/>
          <pc:sldMk cId="4002773261" sldId="302"/>
        </pc:sldMkLst>
        <pc:spChg chg="mod">
          <ac:chgData name="이 지상" userId="52e16c35b1c96571" providerId="LiveId" clId="{E3E1CB2B-ED93-498B-9977-258471074ACD}" dt="2021-01-13T12:24:32.528" v="13232"/>
          <ac:spMkLst>
            <pc:docMk/>
            <pc:sldMk cId="4002773261" sldId="302"/>
            <ac:spMk id="5" creationId="{00000000-0000-0000-0000-000000000000}"/>
          </ac:spMkLst>
        </pc:spChg>
      </pc:sldChg>
      <pc:sldChg chg="addSp delSp modSp add mod setBg delDesignElem">
        <pc:chgData name="이 지상" userId="52e16c35b1c96571" providerId="LiveId" clId="{E3E1CB2B-ED93-498B-9977-258471074ACD}" dt="2021-01-13T12:37:38.915" v="13717" actId="20577"/>
        <pc:sldMkLst>
          <pc:docMk/>
          <pc:sldMk cId="3818577173" sldId="303"/>
        </pc:sldMkLst>
        <pc:spChg chg="mod">
          <ac:chgData name="이 지상" userId="52e16c35b1c96571" providerId="LiveId" clId="{E3E1CB2B-ED93-498B-9977-258471074ACD}" dt="2021-01-13T12:32:43.505" v="13325" actId="14100"/>
          <ac:spMkLst>
            <pc:docMk/>
            <pc:sldMk cId="3818577173" sldId="303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37:38.915" v="13717" actId="20577"/>
          <ac:spMkLst>
            <pc:docMk/>
            <pc:sldMk cId="3818577173" sldId="303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2:32:07.584" v="13238" actId="26606"/>
          <ac:spMkLst>
            <pc:docMk/>
            <pc:sldMk cId="3818577173" sldId="303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2:32:07.584" v="13238" actId="26606"/>
          <ac:spMkLst>
            <pc:docMk/>
            <pc:sldMk cId="3818577173" sldId="303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2:30:39.628" v="13237"/>
          <ac:spMkLst>
            <pc:docMk/>
            <pc:sldMk cId="3818577173" sldId="303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2:30:39.628" v="13237"/>
          <ac:spMkLst>
            <pc:docMk/>
            <pc:sldMk cId="3818577173" sldId="303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2:32:07.584" v="13238" actId="26606"/>
          <ac:grpSpMkLst>
            <pc:docMk/>
            <pc:sldMk cId="3818577173" sldId="303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2:30:39.628" v="13237"/>
          <ac:grpSpMkLst>
            <pc:docMk/>
            <pc:sldMk cId="3818577173" sldId="303"/>
            <ac:grpSpMk id="14" creationId="{28FAF094-D087-493F-8DF9-A486C2D6BBAA}"/>
          </ac:grpSpMkLst>
        </pc:grpChg>
      </pc:sldChg>
      <pc:sldChg chg="addSp delSp modSp add del mod setBg delDesignElem">
        <pc:chgData name="이 지상" userId="52e16c35b1c96571" providerId="LiveId" clId="{E3E1CB2B-ED93-498B-9977-258471074ACD}" dt="2021-01-13T13:09:02.604" v="15384" actId="2696"/>
        <pc:sldMkLst>
          <pc:docMk/>
          <pc:sldMk cId="95172149" sldId="304"/>
        </pc:sldMkLst>
        <pc:spChg chg="mod">
          <ac:chgData name="이 지상" userId="52e16c35b1c96571" providerId="LiveId" clId="{E3E1CB2B-ED93-498B-9977-258471074ACD}" dt="2021-01-13T12:38:29.257" v="13753"/>
          <ac:spMkLst>
            <pc:docMk/>
            <pc:sldMk cId="95172149" sldId="304"/>
            <ac:spMk id="2" creationId="{4803AC60-B1EB-4F45-9FAD-7E1C0E21014C}"/>
          </ac:spMkLst>
        </pc:spChg>
        <pc:spChg chg="add mod">
          <ac:chgData name="이 지상" userId="52e16c35b1c96571" providerId="LiveId" clId="{E3E1CB2B-ED93-498B-9977-258471074ACD}" dt="2021-01-13T12:42:37.501" v="13758" actId="21"/>
          <ac:spMkLst>
            <pc:docMk/>
            <pc:sldMk cId="95172149" sldId="304"/>
            <ac:spMk id="6" creationId="{727E4AFC-8535-4771-B67E-4A7699C1AF2D}"/>
          </ac:spMkLst>
        </pc:spChg>
        <pc:spChg chg="del mod">
          <ac:chgData name="이 지상" userId="52e16c35b1c96571" providerId="LiveId" clId="{E3E1CB2B-ED93-498B-9977-258471074ACD}" dt="2021-01-13T12:42:24.455" v="13755" actId="22"/>
          <ac:spMkLst>
            <pc:docMk/>
            <pc:sldMk cId="95172149" sldId="304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37:41.392" v="13719"/>
          <ac:spMkLst>
            <pc:docMk/>
            <pc:sldMk cId="95172149" sldId="304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37:41.392" v="13719"/>
          <ac:spMkLst>
            <pc:docMk/>
            <pc:sldMk cId="95172149" sldId="304"/>
            <ac:spMk id="11" creationId="{E659831F-0D9A-4C63-9EBB-8435B85A440F}"/>
          </ac:spMkLst>
        </pc:spChg>
        <pc:grpChg chg="del">
          <ac:chgData name="이 지상" userId="52e16c35b1c96571" providerId="LiveId" clId="{E3E1CB2B-ED93-498B-9977-258471074ACD}" dt="2021-01-13T12:37:41.392" v="13719"/>
          <ac:grpSpMkLst>
            <pc:docMk/>
            <pc:sldMk cId="95172149" sldId="304"/>
            <ac:grpSpMk id="10" creationId="{28FAF094-D087-493F-8DF9-A486C2D6BBAA}"/>
          </ac:grpSpMkLst>
        </pc:grpChg>
        <pc:picChg chg="add del mod ord">
          <ac:chgData name="이 지상" userId="52e16c35b1c96571" providerId="LiveId" clId="{E3E1CB2B-ED93-498B-9977-258471074ACD}" dt="2021-01-13T12:42:37.501" v="13758" actId="21"/>
          <ac:picMkLst>
            <pc:docMk/>
            <pc:sldMk cId="95172149" sldId="304"/>
            <ac:picMk id="4" creationId="{B91DCE8D-3552-41DB-82F4-02C476214AA7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2:45:59.242" v="14124" actId="1076"/>
        <pc:sldMkLst>
          <pc:docMk/>
          <pc:sldMk cId="1656623118" sldId="305"/>
        </pc:sldMkLst>
        <pc:spChg chg="mod">
          <ac:chgData name="이 지상" userId="52e16c35b1c96571" providerId="LiveId" clId="{E3E1CB2B-ED93-498B-9977-258471074ACD}" dt="2021-01-13T12:43:31.242" v="13819"/>
          <ac:spMkLst>
            <pc:docMk/>
            <pc:sldMk cId="1656623118" sldId="305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45:57.098" v="14123" actId="14100"/>
          <ac:spMkLst>
            <pc:docMk/>
            <pc:sldMk cId="1656623118" sldId="305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9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1" creationId="{3873B707-463F-40B0-8227-E8CC6C67EB25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12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3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2:52.818" v="13761" actId="26606"/>
          <ac:spMkLst>
            <pc:docMk/>
            <pc:sldMk cId="1656623118" sldId="305"/>
            <ac:spMk id="17" creationId="{19C9EAEA-39D0-4B0E-A0EB-51E7B26740B1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12:42:48.415" v="13760"/>
          <ac:spMkLst>
            <pc:docMk/>
            <pc:sldMk cId="1656623118" sldId="305"/>
            <ac:spMk id="22" creationId="{19C9EAEA-39D0-4B0E-A0EB-51E7B26740B1}"/>
          </ac:spMkLst>
        </pc:spChg>
        <pc:grpChg chg="add">
          <ac:chgData name="이 지상" userId="52e16c35b1c96571" providerId="LiveId" clId="{E3E1CB2B-ED93-498B-9977-258471074ACD}" dt="2021-01-13T12:42:52.818" v="13761" actId="26606"/>
          <ac:grpSpMkLst>
            <pc:docMk/>
            <pc:sldMk cId="1656623118" sldId="305"/>
            <ac:grpSpMk id="10" creationId="{1DE889C7-FAD6-4397-98E2-05D503484459}"/>
          </ac:grpSpMkLst>
        </pc:grpChg>
        <pc:grpChg chg="del">
          <ac:chgData name="이 지상" userId="52e16c35b1c96571" providerId="LiveId" clId="{E3E1CB2B-ED93-498B-9977-258471074ACD}" dt="2021-01-13T12:42:48.415" v="13760"/>
          <ac:grpSpMkLst>
            <pc:docMk/>
            <pc:sldMk cId="1656623118" sldId="305"/>
            <ac:grpSpMk id="14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45:59.242" v="14124" actId="1076"/>
          <ac:picMkLst>
            <pc:docMk/>
            <pc:sldMk cId="1656623118" sldId="305"/>
            <ac:picMk id="4" creationId="{DE2071A4-9968-4F83-8E48-EDB0004838C5}"/>
          </ac:picMkLst>
        </pc:picChg>
        <pc:picChg chg="del mod">
          <ac:chgData name="이 지상" userId="52e16c35b1c96571" providerId="LiveId" clId="{E3E1CB2B-ED93-498B-9977-258471074ACD}" dt="2021-01-13T12:42:53.815" v="13762" actId="478"/>
          <ac:picMkLst>
            <pc:docMk/>
            <pc:sldMk cId="1656623118" sldId="305"/>
            <ac:picMk id="6" creationId="{D71E50D2-B146-4FB3-9E8D-EA32D428EF40}"/>
          </ac:picMkLst>
        </pc:picChg>
      </pc:sldChg>
      <pc:sldChg chg="addSp delSp add del setBg delDesignElem">
        <pc:chgData name="이 지상" userId="52e16c35b1c96571" providerId="LiveId" clId="{E3E1CB2B-ED93-498B-9977-258471074ACD}" dt="2021-01-13T12:42:55.856" v="13765"/>
        <pc:sldMkLst>
          <pc:docMk/>
          <pc:sldMk cId="1729380357" sldId="306"/>
        </pc:sldMkLst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12" creationId="{201CC55D-ED54-4C5C-95E6-10947BD1103B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18" creationId="{3873B707-463F-40B0-8227-E8CC6C67EB25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20" creationId="{C13237C8-E62C-4F0D-A318-BD6FB6C2D138}"/>
          </ac:spMkLst>
        </pc:spChg>
        <pc:spChg chg="add del">
          <ac:chgData name="이 지상" userId="52e16c35b1c96571" providerId="LiveId" clId="{E3E1CB2B-ED93-498B-9977-258471074ACD}" dt="2021-01-13T12:42:55.856" v="13765"/>
          <ac:spMkLst>
            <pc:docMk/>
            <pc:sldMk cId="1729380357" sldId="306"/>
            <ac:spMk id="22" creationId="{19C9EAEA-39D0-4B0E-A0EB-51E7B26740B1}"/>
          </ac:spMkLst>
        </pc:spChg>
        <pc:grpChg chg="add del">
          <ac:chgData name="이 지상" userId="52e16c35b1c96571" providerId="LiveId" clId="{E3E1CB2B-ED93-498B-9977-258471074ACD}" dt="2021-01-13T12:42:55.856" v="13765"/>
          <ac:grpSpMkLst>
            <pc:docMk/>
            <pc:sldMk cId="1729380357" sldId="306"/>
            <ac:grpSpMk id="14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3:01:54.385" v="14891" actId="20577"/>
        <pc:sldMkLst>
          <pc:docMk/>
          <pc:sldMk cId="2140741906" sldId="306"/>
        </pc:sldMkLst>
        <pc:spChg chg="mod">
          <ac:chgData name="이 지상" userId="52e16c35b1c96571" providerId="LiveId" clId="{E3E1CB2B-ED93-498B-9977-258471074ACD}" dt="2021-01-13T12:51:45.173" v="14431" actId="20577"/>
          <ac:spMkLst>
            <pc:docMk/>
            <pc:sldMk cId="2140741906" sldId="306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01:54.385" v="14891" actId="20577"/>
          <ac:spMkLst>
            <pc:docMk/>
            <pc:sldMk cId="2140741906" sldId="306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9" creationId="{201CC55D-ED54-4C5C-95E6-10947BD1103B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1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3" creationId="{C13237C8-E62C-4F0D-A318-BD6FB6C2D138}"/>
          </ac:spMkLst>
        </pc:spChg>
        <pc:spChg chg="del">
          <ac:chgData name="이 지상" userId="52e16c35b1c96571" providerId="LiveId" clId="{E3E1CB2B-ED93-498B-9977-258471074ACD}" dt="2021-01-13T12:46:19.702" v="14126"/>
          <ac:spMkLst>
            <pc:docMk/>
            <pc:sldMk cId="2140741906" sldId="306"/>
            <ac:spMk id="17" creationId="{19C9EAEA-39D0-4B0E-A0EB-51E7B26740B1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18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20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6:21.770" v="14127" actId="26606"/>
          <ac:spMkLst>
            <pc:docMk/>
            <pc:sldMk cId="2140741906" sldId="306"/>
            <ac:spMk id="22" creationId="{19C9EAEA-39D0-4B0E-A0EB-51E7B26740B1}"/>
          </ac:spMkLst>
        </pc:spChg>
        <pc:grpChg chg="del">
          <ac:chgData name="이 지상" userId="52e16c35b1c96571" providerId="LiveId" clId="{E3E1CB2B-ED93-498B-9977-258471074ACD}" dt="2021-01-13T12:46:19.702" v="14126"/>
          <ac:grpSpMkLst>
            <pc:docMk/>
            <pc:sldMk cId="2140741906" sldId="306"/>
            <ac:grpSpMk id="10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2:46:21.770" v="14127" actId="26606"/>
          <ac:grpSpMkLst>
            <pc:docMk/>
            <pc:sldMk cId="2140741906" sldId="306"/>
            <ac:grpSpMk id="14" creationId="{1DE889C7-FAD6-4397-98E2-05D503484459}"/>
          </ac:grpSpMkLst>
        </pc:grpChg>
        <pc:picChg chg="del mod">
          <ac:chgData name="이 지상" userId="52e16c35b1c96571" providerId="LiveId" clId="{E3E1CB2B-ED93-498B-9977-258471074ACD}" dt="2021-01-13T12:46:22.827" v="14128" actId="478"/>
          <ac:picMkLst>
            <pc:docMk/>
            <pc:sldMk cId="2140741906" sldId="306"/>
            <ac:picMk id="4" creationId="{DE2071A4-9968-4F83-8E48-EDB0004838C5}"/>
          </ac:picMkLst>
        </pc:picChg>
        <pc:picChg chg="add del mod">
          <ac:chgData name="이 지상" userId="52e16c35b1c96571" providerId="LiveId" clId="{E3E1CB2B-ED93-498B-9977-258471074ACD}" dt="2021-01-13T12:47:46.876" v="14149" actId="21"/>
          <ac:picMkLst>
            <pc:docMk/>
            <pc:sldMk cId="2140741906" sldId="306"/>
            <ac:picMk id="5" creationId="{1CCFB078-6838-4B30-8874-2C13BB72D540}"/>
          </ac:picMkLst>
        </pc:picChg>
        <pc:picChg chg="add mod">
          <ac:chgData name="이 지상" userId="52e16c35b1c96571" providerId="LiveId" clId="{E3E1CB2B-ED93-498B-9977-258471074ACD}" dt="2021-01-13T13:01:29.776" v="14884" actId="1076"/>
          <ac:picMkLst>
            <pc:docMk/>
            <pc:sldMk cId="2140741906" sldId="306"/>
            <ac:picMk id="8" creationId="{B4D21382-71C9-47DD-9605-CEA6F166C179}"/>
          </ac:picMkLst>
        </pc:picChg>
        <pc:picChg chg="add mod">
          <ac:chgData name="이 지상" userId="52e16c35b1c96571" providerId="LiveId" clId="{E3E1CB2B-ED93-498B-9977-258471074ACD}" dt="2021-01-13T13:01:40.404" v="14888" actId="1076"/>
          <ac:picMkLst>
            <pc:docMk/>
            <pc:sldMk cId="2140741906" sldId="306"/>
            <ac:picMk id="21" creationId="{4D773FA0-FA5A-4B40-A97B-FF029763936F}"/>
          </ac:picMkLst>
        </pc:picChg>
      </pc:sldChg>
      <pc:sldChg chg="addSp delSp modSp add mod ord setBg delDesignElem">
        <pc:chgData name="이 지상" userId="52e16c35b1c96571" providerId="LiveId" clId="{E3E1CB2B-ED93-498B-9977-258471074ACD}" dt="2021-01-13T12:51:13.084" v="14378" actId="14100"/>
        <pc:sldMkLst>
          <pc:docMk/>
          <pc:sldMk cId="1854091975" sldId="307"/>
        </pc:sldMkLst>
        <pc:spChg chg="mod">
          <ac:chgData name="이 지상" userId="52e16c35b1c96571" providerId="LiveId" clId="{E3E1CB2B-ED93-498B-9977-258471074ACD}" dt="2021-01-13T12:51:06.652" v="14377" actId="255"/>
          <ac:spMkLst>
            <pc:docMk/>
            <pc:sldMk cId="1854091975" sldId="307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2:51:13.084" v="14378" actId="14100"/>
          <ac:spMkLst>
            <pc:docMk/>
            <pc:sldMk cId="1854091975" sldId="307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2:47:20.268" v="14135"/>
          <ac:spMkLst>
            <pc:docMk/>
            <pc:sldMk cId="1854091975" sldId="307"/>
            <ac:spMk id="9" creationId="{DBF61EA3-B236-439E-9C0B-340980D56BEE}"/>
          </ac:spMkLst>
        </pc:spChg>
        <pc:spChg chg="del">
          <ac:chgData name="이 지상" userId="52e16c35b1c96571" providerId="LiveId" clId="{E3E1CB2B-ED93-498B-9977-258471074ACD}" dt="2021-01-13T12:47:20.268" v="14135"/>
          <ac:spMkLst>
            <pc:docMk/>
            <pc:sldMk cId="1854091975" sldId="307"/>
            <ac:spMk id="11" creationId="{E659831F-0D9A-4C63-9EBB-8435B85A440F}"/>
          </ac:spMkLst>
        </pc:spChg>
        <pc:spChg chg="add del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12" creationId="{DBF61EA3-B236-439E-9C0B-340980D56BEE}"/>
          </ac:spMkLst>
        </pc:spChg>
        <pc:spChg chg="add del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18" creationId="{E659831F-0D9A-4C63-9EBB-8435B85A440F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23" creationId="{201CC55D-ED54-4C5C-95E6-10947BD1103B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29" creationId="{3873B707-463F-40B0-8227-E8CC6C67EB25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31" creationId="{C13237C8-E62C-4F0D-A318-BD6FB6C2D138}"/>
          </ac:spMkLst>
        </pc:spChg>
        <pc:spChg chg="add">
          <ac:chgData name="이 지상" userId="52e16c35b1c96571" providerId="LiveId" clId="{E3E1CB2B-ED93-498B-9977-258471074ACD}" dt="2021-01-13T12:49:35.118" v="14355" actId="26606"/>
          <ac:spMkLst>
            <pc:docMk/>
            <pc:sldMk cId="1854091975" sldId="307"/>
            <ac:spMk id="33" creationId="{19C9EAEA-39D0-4B0E-A0EB-51E7B26740B1}"/>
          </ac:spMkLst>
        </pc:spChg>
        <pc:grpChg chg="del">
          <ac:chgData name="이 지상" userId="52e16c35b1c96571" providerId="LiveId" clId="{E3E1CB2B-ED93-498B-9977-258471074ACD}" dt="2021-01-13T12:47:20.268" v="14135"/>
          <ac:grpSpMkLst>
            <pc:docMk/>
            <pc:sldMk cId="1854091975" sldId="307"/>
            <ac:grpSpMk id="10" creationId="{28FAF094-D087-493F-8DF9-A486C2D6BBAA}"/>
          </ac:grpSpMkLst>
        </pc:grpChg>
        <pc:grpChg chg="add del">
          <ac:chgData name="이 지상" userId="52e16c35b1c96571" providerId="LiveId" clId="{E3E1CB2B-ED93-498B-9977-258471074ACD}" dt="2021-01-13T12:49:35.118" v="14355" actId="26606"/>
          <ac:grpSpMkLst>
            <pc:docMk/>
            <pc:sldMk cId="1854091975" sldId="307"/>
            <ac:grpSpMk id="14" creationId="{28FAF094-D087-493F-8DF9-A486C2D6BBAA}"/>
          </ac:grpSpMkLst>
        </pc:grpChg>
        <pc:grpChg chg="add">
          <ac:chgData name="이 지상" userId="52e16c35b1c96571" providerId="LiveId" clId="{E3E1CB2B-ED93-498B-9977-258471074ACD}" dt="2021-01-13T12:49:35.118" v="14355" actId="26606"/>
          <ac:grpSpMkLst>
            <pc:docMk/>
            <pc:sldMk cId="1854091975" sldId="307"/>
            <ac:grpSpMk id="25" creationId="{1DE889C7-FAD6-4397-98E2-05D503484459}"/>
          </ac:grpSpMkLst>
        </pc:grpChg>
        <pc:picChg chg="add mod">
          <ac:chgData name="이 지상" userId="52e16c35b1c96571" providerId="LiveId" clId="{E3E1CB2B-ED93-498B-9977-258471074ACD}" dt="2021-01-13T12:50:17.251" v="14365" actId="1076"/>
          <ac:picMkLst>
            <pc:docMk/>
            <pc:sldMk cId="1854091975" sldId="307"/>
            <ac:picMk id="4" creationId="{0EE96D76-D019-491E-B95D-B33845023AF5}"/>
          </ac:picMkLst>
        </pc:picChg>
        <pc:picChg chg="add del mod">
          <ac:chgData name="이 지상" userId="52e16c35b1c96571" providerId="LiveId" clId="{E3E1CB2B-ED93-498B-9977-258471074ACD}" dt="2021-01-13T12:49:37.427" v="14356" actId="21"/>
          <ac:picMkLst>
            <pc:docMk/>
            <pc:sldMk cId="1854091975" sldId="307"/>
            <ac:picMk id="13" creationId="{F99D377E-77CA-4D2F-87A7-D8D65F5F9482}"/>
          </ac:picMkLst>
        </pc:picChg>
      </pc:sldChg>
      <pc:sldChg chg="addSp delSp modSp add mod setBg delDesignElem">
        <pc:chgData name="이 지상" userId="52e16c35b1c96571" providerId="LiveId" clId="{E3E1CB2B-ED93-498B-9977-258471074ACD}" dt="2021-01-13T13:13:35.657" v="15854" actId="20577"/>
        <pc:sldMkLst>
          <pc:docMk/>
          <pc:sldMk cId="2746014371" sldId="308"/>
        </pc:sldMkLst>
        <pc:spChg chg="mod">
          <ac:chgData name="이 지상" userId="52e16c35b1c96571" providerId="LiveId" clId="{E3E1CB2B-ED93-498B-9977-258471074ACD}" dt="2021-01-13T13:03:24.365" v="14987" actId="14100"/>
          <ac:spMkLst>
            <pc:docMk/>
            <pc:sldMk cId="2746014371" sldId="308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13:35.657" v="15854" actId="20577"/>
          <ac:spMkLst>
            <pc:docMk/>
            <pc:sldMk cId="2746014371" sldId="308"/>
            <ac:spMk id="7" creationId="{2260A6A2-82F8-410C-B05D-F9F149C06749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12" creationId="{201CC55D-ED54-4C5C-95E6-10947BD1103B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18" creationId="{3873B707-463F-40B0-8227-E8CC6C67EB25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20" creationId="{C13237C8-E62C-4F0D-A318-BD6FB6C2D138}"/>
          </ac:spMkLst>
        </pc:spChg>
        <pc:spChg chg="del">
          <ac:chgData name="이 지상" userId="52e16c35b1c96571" providerId="LiveId" clId="{E3E1CB2B-ED93-498B-9977-258471074ACD}" dt="2021-01-13T13:02:52.018" v="14893"/>
          <ac:spMkLst>
            <pc:docMk/>
            <pc:sldMk cId="2746014371" sldId="308"/>
            <ac:spMk id="22" creationId="{19C9EAEA-39D0-4B0E-A0EB-51E7B26740B1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26" creationId="{6ECA6DCB-B7E1-40A9-9524-540C6DA40B1B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2" creationId="{3873B707-463F-40B0-8227-E8CC6C67EB25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4" creationId="{C13237C8-E62C-4F0D-A318-BD6FB6C2D138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6" creationId="{19C9EAEA-39D0-4B0E-A0EB-51E7B26740B1}"/>
          </ac:spMkLst>
        </pc:spChg>
        <pc:spChg chg="add">
          <ac:chgData name="이 지상" userId="52e16c35b1c96571" providerId="LiveId" clId="{E3E1CB2B-ED93-498B-9977-258471074ACD}" dt="2021-01-13T13:02:55.667" v="14894" actId="26606"/>
          <ac:spMkLst>
            <pc:docMk/>
            <pc:sldMk cId="2746014371" sldId="308"/>
            <ac:spMk id="38" creationId="{8CB5D2D7-DF65-4E86-BFBA-FFB9B5ACEB64}"/>
          </ac:spMkLst>
        </pc:spChg>
        <pc:grpChg chg="del">
          <ac:chgData name="이 지상" userId="52e16c35b1c96571" providerId="LiveId" clId="{E3E1CB2B-ED93-498B-9977-258471074ACD}" dt="2021-01-13T13:02:52.018" v="14893"/>
          <ac:grpSpMkLst>
            <pc:docMk/>
            <pc:sldMk cId="2746014371" sldId="308"/>
            <ac:grpSpMk id="14" creationId="{1DE889C7-FAD6-4397-98E2-05D503484459}"/>
          </ac:grpSpMkLst>
        </pc:grpChg>
        <pc:grpChg chg="add">
          <ac:chgData name="이 지상" userId="52e16c35b1c96571" providerId="LiveId" clId="{E3E1CB2B-ED93-498B-9977-258471074ACD}" dt="2021-01-13T13:02:55.667" v="14894" actId="26606"/>
          <ac:grpSpMkLst>
            <pc:docMk/>
            <pc:sldMk cId="2746014371" sldId="308"/>
            <ac:grpSpMk id="28" creationId="{1DE889C7-FAD6-4397-98E2-05D503484459}"/>
          </ac:grpSpMkLst>
        </pc:grpChg>
        <pc:picChg chg="add del mod">
          <ac:chgData name="이 지상" userId="52e16c35b1c96571" providerId="LiveId" clId="{E3E1CB2B-ED93-498B-9977-258471074ACD}" dt="2021-01-13T13:11:45.433" v="15702" actId="478"/>
          <ac:picMkLst>
            <pc:docMk/>
            <pc:sldMk cId="2746014371" sldId="308"/>
            <ac:picMk id="4" creationId="{512823FE-E793-4845-B50B-2506A4901820}"/>
          </ac:picMkLst>
        </pc:picChg>
        <pc:picChg chg="add del mod">
          <ac:chgData name="이 지상" userId="52e16c35b1c96571" providerId="LiveId" clId="{E3E1CB2B-ED93-498B-9977-258471074ACD}" dt="2021-01-13T13:11:46.046" v="15703" actId="478"/>
          <ac:picMkLst>
            <pc:docMk/>
            <pc:sldMk cId="2746014371" sldId="308"/>
            <ac:picMk id="6" creationId="{E8E1A27F-DDF1-4EEC-9408-4953B3AFFBB3}"/>
          </ac:picMkLst>
        </pc:picChg>
        <pc:picChg chg="del mod">
          <ac:chgData name="이 지상" userId="52e16c35b1c96571" providerId="LiveId" clId="{E3E1CB2B-ED93-498B-9977-258471074ACD}" dt="2021-01-13T13:07:03.550" v="15366" actId="478"/>
          <ac:picMkLst>
            <pc:docMk/>
            <pc:sldMk cId="2746014371" sldId="308"/>
            <ac:picMk id="8" creationId="{B4D21382-71C9-47DD-9605-CEA6F166C179}"/>
          </ac:picMkLst>
        </pc:picChg>
        <pc:picChg chg="add mod">
          <ac:chgData name="이 지상" userId="52e16c35b1c96571" providerId="LiveId" clId="{E3E1CB2B-ED93-498B-9977-258471074ACD}" dt="2021-01-13T13:12:09.413" v="15708" actId="1076"/>
          <ac:picMkLst>
            <pc:docMk/>
            <pc:sldMk cId="2746014371" sldId="308"/>
            <ac:picMk id="10" creationId="{9A142146-26A5-48EC-9D18-CF899D83A188}"/>
          </ac:picMkLst>
        </pc:picChg>
        <pc:picChg chg="add mod">
          <ac:chgData name="이 지상" userId="52e16c35b1c96571" providerId="LiveId" clId="{E3E1CB2B-ED93-498B-9977-258471074ACD}" dt="2021-01-13T13:12:48.250" v="15713" actId="14100"/>
          <ac:picMkLst>
            <pc:docMk/>
            <pc:sldMk cId="2746014371" sldId="308"/>
            <ac:picMk id="13" creationId="{4FA856BC-C4E7-48AB-9021-E6950D5E2B19}"/>
          </ac:picMkLst>
        </pc:picChg>
        <pc:picChg chg="del mod">
          <ac:chgData name="이 지상" userId="52e16c35b1c96571" providerId="LiveId" clId="{E3E1CB2B-ED93-498B-9977-258471074ACD}" dt="2021-01-13T13:07:03.866" v="15367" actId="478"/>
          <ac:picMkLst>
            <pc:docMk/>
            <pc:sldMk cId="2746014371" sldId="308"/>
            <ac:picMk id="21" creationId="{4D773FA0-FA5A-4B40-A97B-FF029763936F}"/>
          </ac:picMkLst>
        </pc:picChg>
      </pc:sldChg>
      <pc:sldChg chg="delSp add del setBg delDesignElem">
        <pc:chgData name="이 지상" userId="52e16c35b1c96571" providerId="LiveId" clId="{E3E1CB2B-ED93-498B-9977-258471074ACD}" dt="2021-01-13T13:09:01.003" v="15383" actId="2696"/>
        <pc:sldMkLst>
          <pc:docMk/>
          <pc:sldMk cId="2496216934" sldId="309"/>
        </pc:sldMkLst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26" creationId="{6ECA6DCB-B7E1-40A9-9524-540C6DA40B1B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2" creationId="{3873B707-463F-40B0-8227-E8CC6C67EB25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4" creationId="{C13237C8-E62C-4F0D-A318-BD6FB6C2D138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6" creationId="{19C9EAEA-39D0-4B0E-A0EB-51E7B26740B1}"/>
          </ac:spMkLst>
        </pc:spChg>
        <pc:spChg chg="del">
          <ac:chgData name="이 지상" userId="52e16c35b1c96571" providerId="LiveId" clId="{E3E1CB2B-ED93-498B-9977-258471074ACD}" dt="2021-01-13T13:08:44.815" v="15380"/>
          <ac:spMkLst>
            <pc:docMk/>
            <pc:sldMk cId="2496216934" sldId="309"/>
            <ac:spMk id="38" creationId="{8CB5D2D7-DF65-4E86-BFBA-FFB9B5ACEB64}"/>
          </ac:spMkLst>
        </pc:spChg>
        <pc:grpChg chg="del">
          <ac:chgData name="이 지상" userId="52e16c35b1c96571" providerId="LiveId" clId="{E3E1CB2B-ED93-498B-9977-258471074ACD}" dt="2021-01-13T13:08:44.815" v="15380"/>
          <ac:grpSpMkLst>
            <pc:docMk/>
            <pc:sldMk cId="2496216934" sldId="309"/>
            <ac:grpSpMk id="28" creationId="{1DE889C7-FAD6-4397-98E2-05D503484459}"/>
          </ac:grpSpMkLst>
        </pc:grpChg>
      </pc:sldChg>
      <pc:sldChg chg="addSp delSp modSp add mod setBg delDesignElem">
        <pc:chgData name="이 지상" userId="52e16c35b1c96571" providerId="LiveId" clId="{E3E1CB2B-ED93-498B-9977-258471074ACD}" dt="2021-01-13T13:14:49.138" v="16148"/>
        <pc:sldMkLst>
          <pc:docMk/>
          <pc:sldMk cId="3452299045" sldId="310"/>
        </pc:sldMkLst>
        <pc:spChg chg="mod">
          <ac:chgData name="이 지상" userId="52e16c35b1c96571" providerId="LiveId" clId="{E3E1CB2B-ED93-498B-9977-258471074ACD}" dt="2021-01-13T13:09:27.929" v="15400" actId="20577"/>
          <ac:spMkLst>
            <pc:docMk/>
            <pc:sldMk cId="3452299045" sldId="310"/>
            <ac:spMk id="2" creationId="{4803AC60-B1EB-4F45-9FAD-7E1C0E21014C}"/>
          </ac:spMkLst>
        </pc:spChg>
        <pc:spChg chg="mod">
          <ac:chgData name="이 지상" userId="52e16c35b1c96571" providerId="LiveId" clId="{E3E1CB2B-ED93-498B-9977-258471074ACD}" dt="2021-01-13T13:14:49.138" v="16148"/>
          <ac:spMkLst>
            <pc:docMk/>
            <pc:sldMk cId="3452299045" sldId="310"/>
            <ac:spMk id="7" creationId="{2260A6A2-82F8-410C-B05D-F9F149C06749}"/>
          </ac:spMkLst>
        </pc:spChg>
        <pc:spChg chg="add">
          <ac:chgData name="이 지상" userId="52e16c35b1c96571" providerId="LiveId" clId="{E3E1CB2B-ED93-498B-9977-258471074ACD}" dt="2021-01-13T13:09:23.812" v="15393" actId="26606"/>
          <ac:spMkLst>
            <pc:docMk/>
            <pc:sldMk cId="3452299045" sldId="310"/>
            <ac:spMk id="9" creationId="{DBF61EA3-B236-439E-9C0B-340980D56BEE}"/>
          </ac:spMkLst>
        </pc:spChg>
        <pc:spChg chg="add">
          <ac:chgData name="이 지상" userId="52e16c35b1c96571" providerId="LiveId" clId="{E3E1CB2B-ED93-498B-9977-258471074ACD}" dt="2021-01-13T13:09:23.812" v="15393" actId="26606"/>
          <ac:spMkLst>
            <pc:docMk/>
            <pc:sldMk cId="3452299045" sldId="310"/>
            <ac:spMk id="11" creationId="{E659831F-0D9A-4C63-9EBB-8435B85A440F}"/>
          </ac:spMkLst>
        </pc:spChg>
        <pc:spChg chg="del">
          <ac:chgData name="이 지상" userId="52e16c35b1c96571" providerId="LiveId" clId="{E3E1CB2B-ED93-498B-9977-258471074ACD}" dt="2021-01-13T13:08:57.576" v="15382"/>
          <ac:spMkLst>
            <pc:docMk/>
            <pc:sldMk cId="3452299045" sldId="310"/>
            <ac:spMk id="12" creationId="{DBF61EA3-B236-439E-9C0B-340980D56BEE}"/>
          </ac:spMkLst>
        </pc:spChg>
        <pc:spChg chg="del">
          <ac:chgData name="이 지상" userId="52e16c35b1c96571" providerId="LiveId" clId="{E3E1CB2B-ED93-498B-9977-258471074ACD}" dt="2021-01-13T13:08:57.576" v="15382"/>
          <ac:spMkLst>
            <pc:docMk/>
            <pc:sldMk cId="3452299045" sldId="310"/>
            <ac:spMk id="18" creationId="{E659831F-0D9A-4C63-9EBB-8435B85A440F}"/>
          </ac:spMkLst>
        </pc:spChg>
        <pc:grpChg chg="add">
          <ac:chgData name="이 지상" userId="52e16c35b1c96571" providerId="LiveId" clId="{E3E1CB2B-ED93-498B-9977-258471074ACD}" dt="2021-01-13T13:09:23.812" v="15393" actId="26606"/>
          <ac:grpSpMkLst>
            <pc:docMk/>
            <pc:sldMk cId="3452299045" sldId="310"/>
            <ac:grpSpMk id="10" creationId="{28FAF094-D087-493F-8DF9-A486C2D6BBAA}"/>
          </ac:grpSpMkLst>
        </pc:grpChg>
        <pc:grpChg chg="del">
          <ac:chgData name="이 지상" userId="52e16c35b1c96571" providerId="LiveId" clId="{E3E1CB2B-ED93-498B-9977-258471074ACD}" dt="2021-01-13T13:08:57.576" v="15382"/>
          <ac:grpSpMkLst>
            <pc:docMk/>
            <pc:sldMk cId="3452299045" sldId="310"/>
            <ac:grpSpMk id="14" creationId="{28FAF094-D087-493F-8DF9-A486C2D6BBAA}"/>
          </ac:grpSpMkLst>
        </pc:gr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4E0E911-8F86-4859-BB05-650E26A62F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761332F1-2E7B-4EC8-B113-83E2B51E3A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D97EDBE-7BBC-4761-92CE-8EB318FCA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5C9534F0-A133-4903-B9BD-71D001F7C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1EBB7DF-EE81-4CB1-A3CF-E866EF213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91498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1719B6D-56DD-4734-83C6-88C64A6EE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87813B41-3CEE-47EA-816E-541F223B02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C02BA1CA-6728-4D53-90C4-29CCFF36B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540AF98-15FC-4D81-8B00-3CFE31E55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BA796BA-E691-455E-8088-E85310AAA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05153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C3A9BAD2-C8DB-4031-A2E1-453552D8A4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E085558-2504-4042-9668-EB7907155F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87E823D6-F791-4208-AEB2-A4DD727108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2E2AE22-CB30-4B27-A1F7-A82BAA6CC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820386A-DBA2-41EA-82EB-F9F4BA668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81291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569B040-AF39-41E2-B1D6-692238D54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910FC4A-3EB8-4444-838E-B321332A40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0880E0F-B022-4618-A998-FE1A6790F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3A053A6-96A1-4C34-B42C-928E0FBA0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B70AF71-668A-45BB-B34F-759EDC363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97875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5EEA703-5165-4FD5-9B27-A520266CD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B33E3B4-E710-46D3-8E9C-5F5B03B391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6B07ECE-FB81-47D6-BDDA-4DB095B905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4BE2C95-5E7F-40CB-A3D4-DD06351B3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018A0E6-FDBA-485D-B641-6B37E9D60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8163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59C1EDB-1C21-4DD5-B03E-57CDE7F5D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D78CC5F-F983-4A11-B955-110323C32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FA224D0D-5F19-410D-964C-BD7445FFC9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27556C0-C426-49F0-A6E3-F22921D87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832BC1F-9ADA-4E9D-80D9-59569915D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B9E8E5B4-D585-49E2-BFD4-0F681F8D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37613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18CD6D7-3C5D-4ECB-9753-ABB92FC66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752A98C-5800-4D13-A622-655609D34B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0920B02E-EC24-490E-9A4E-519882BE68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1F977BEC-5E95-4F5E-A992-51E4BB282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1636952C-3A72-41D4-8A04-E4DC3C8792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48D2839-DE0E-413E-8A61-F1BF7D031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A0C8835A-D6A4-497D-A17C-81196A683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A6C17055-5FAD-412E-8823-F37E680F2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703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21785F4-A707-426C-9841-52E0C0DA5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008A234-6B73-4535-AE88-BD667831F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3C7F7CB3-AD0D-42C3-8F28-67BD0655D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A09F603F-7861-4A3B-B9B8-0C39C9CE3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29025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4D06D6F1-0C08-41B4-A6F6-63312706E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986BDBD-B793-487E-BA09-2DD417398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03212149-4F68-4C55-BA5B-94BD17ECB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77648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764E1B1-AA0F-4DAC-AEB7-0E6174192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D6E2C75-C22D-4D13-BF87-0804AED054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D93A7D5-99E6-4335-BCF5-D069BD475D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8B1AEAEE-FF1B-45BA-9B30-372DF893C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6EF5FF8-096E-46E1-94A4-8E4B9F651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684F452-5143-4CD4-BF88-E907C7780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3328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2F9B909-BEF4-4734-BBFE-082AB0D07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FA808F53-1BE9-4897-BEFD-5C89D2679E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48992AE7-DAA6-4DD8-887D-8B6C46CA67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7D8EBDC-0555-47D7-B915-3C2734F08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207D3524-5653-412E-AAC3-18C313EE6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CFD33B2-8BD6-45D0-9C91-92F3BBC52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8550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ED432DC1-3CA8-4F34-B8A5-A2AD8698A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317A237-3F52-4534-BCEB-EA7A5C555C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CF1CC9C-0083-4AB2-A4DC-5FFD7D077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9C976-D48A-4A98-9019-22B71424961F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2834BAB-278B-4CEE-9BBF-8F9BA49D4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8DC4586-3E09-4D79-97B2-280924E305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C4ECC9-9AC9-49C2-999D-234C939463B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740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1</a:t>
            </a:r>
            <a:r>
              <a:rPr lang="en-US" altLang="ko-KR" sz="4000" dirty="0">
                <a:solidFill>
                  <a:schemeClr val="tx1"/>
                </a:solidFill>
              </a:rPr>
              <a:t>.3 </a:t>
            </a:r>
            <a:r>
              <a:rPr lang="ko-KR" altLang="en-US" sz="4000" dirty="0">
                <a:solidFill>
                  <a:schemeClr val="tx1"/>
                </a:solidFill>
              </a:rPr>
              <a:t>왜 </a:t>
            </a:r>
            <a:r>
              <a:rPr lang="ko-KR" altLang="en-US" sz="4000" dirty="0" err="1">
                <a:solidFill>
                  <a:schemeClr val="tx1"/>
                </a:solidFill>
              </a:rPr>
              <a:t>딥러닝일까</a:t>
            </a:r>
            <a:r>
              <a:rPr lang="en-US" altLang="ko-KR" sz="4000" dirty="0">
                <a:solidFill>
                  <a:schemeClr val="tx1"/>
                </a:solidFill>
              </a:rPr>
              <a:t>? </a:t>
            </a:r>
            <a:r>
              <a:rPr lang="ko-KR" altLang="en-US" sz="4000" dirty="0">
                <a:solidFill>
                  <a:schemeClr val="tx1"/>
                </a:solidFill>
              </a:rPr>
              <a:t>왜 지금일까</a:t>
            </a:r>
            <a:r>
              <a:rPr lang="en-US" altLang="ko-KR" sz="4000" dirty="0">
                <a:solidFill>
                  <a:schemeClr val="tx1"/>
                </a:solidFill>
              </a:rPr>
              <a:t>?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chemeClr val="tx1"/>
                </a:solidFill>
              </a:rPr>
              <a:t>2.1 </a:t>
            </a:r>
            <a:r>
              <a:rPr lang="ko-KR" altLang="en-US" sz="4000" dirty="0">
                <a:solidFill>
                  <a:schemeClr val="tx1"/>
                </a:solidFill>
              </a:rPr>
              <a:t>신경망과의 첫 만남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766328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9291" y="146641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306875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케라스에서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</a:t>
              </a:r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MNIST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셋 적재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2404248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신경망 구조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3294955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6" y="4124266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컴파일 단계</a:t>
              </a:r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408057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291" y="490132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훈련 후 정확도 확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이미지 데이터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,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레이블 준비하기</a:t>
            </a:r>
          </a:p>
        </p:txBody>
      </p:sp>
    </p:spTree>
    <p:extLst>
      <p:ext uri="{BB962C8B-B14F-4D97-AF65-F5344CB8AC3E}">
        <p14:creationId xmlns:p14="http://schemas.microsoft.com/office/powerpoint/2010/main" val="1416681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238539"/>
            <a:ext cx="11018520" cy="1434415"/>
          </a:xfrm>
        </p:spPr>
        <p:txBody>
          <a:bodyPr anchor="b">
            <a:normAutofit/>
          </a:bodyPr>
          <a:lstStyle/>
          <a:p>
            <a:r>
              <a:rPr lang="ko-KR" altLang="en-US" sz="5400"/>
              <a:t>개요</a:t>
            </a:r>
            <a:r>
              <a:rPr lang="en-US" altLang="ko-KR" sz="5400"/>
              <a:t>: </a:t>
            </a:r>
            <a:r>
              <a:rPr lang="ko-KR" altLang="en-US" sz="5400"/>
              <a:t>신경망과의 첫만남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92" y="2071316"/>
            <a:ext cx="7757121" cy="4119172"/>
          </a:xfrm>
        </p:spPr>
        <p:txBody>
          <a:bodyPr anchor="t">
            <a:normAutofit/>
          </a:bodyPr>
          <a:lstStyle/>
          <a:p>
            <a:r>
              <a:rPr lang="ko-KR" altLang="en-US" sz="2200" dirty="0" err="1"/>
              <a:t>딥러닝을</a:t>
            </a:r>
            <a:r>
              <a:rPr lang="ko-KR" altLang="en-US" sz="2200" dirty="0"/>
              <a:t> 이해하려면 여러 수학개념과 친숙할 필요가 있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 err="1"/>
              <a:t>텐서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텐서</a:t>
            </a:r>
            <a:r>
              <a:rPr lang="ko-KR" altLang="en-US" sz="2200" dirty="0"/>
              <a:t> 연산</a:t>
            </a:r>
            <a:r>
              <a:rPr lang="en-US" altLang="ko-KR" sz="2200" dirty="0"/>
              <a:t>, </a:t>
            </a:r>
            <a:r>
              <a:rPr lang="ko-KR" altLang="en-US" sz="2200" dirty="0"/>
              <a:t>미분</a:t>
            </a:r>
            <a:r>
              <a:rPr lang="en-US" altLang="ko-KR" sz="2200" dirty="0"/>
              <a:t>, </a:t>
            </a:r>
            <a:r>
              <a:rPr lang="ko-KR" altLang="en-US" sz="2200" dirty="0"/>
              <a:t>경사 </a:t>
            </a:r>
            <a:r>
              <a:rPr lang="ko-KR" altLang="en-US" sz="2200" dirty="0" err="1"/>
              <a:t>하강법</a:t>
            </a:r>
            <a:r>
              <a:rPr lang="ko-KR" altLang="en-US" sz="2200" dirty="0"/>
              <a:t> 등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/>
              <a:t>신경망 예제를 통해 여러 개념을 이해해보자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 err="1"/>
              <a:t>케라스</a:t>
            </a:r>
            <a:r>
              <a:rPr lang="ko-KR" altLang="en-US" sz="2200" dirty="0"/>
              <a:t> 파이썬 라이브러리를 이용하여 </a:t>
            </a:r>
            <a:r>
              <a:rPr lang="ko-KR" altLang="en-US" sz="2200" dirty="0" err="1"/>
              <a:t>손글씨</a:t>
            </a:r>
            <a:r>
              <a:rPr lang="ko-KR" altLang="en-US" sz="2200" dirty="0"/>
              <a:t> 숫자분류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MNIST </a:t>
            </a:r>
            <a:r>
              <a:rPr lang="ko-KR" altLang="en-US" sz="2200" dirty="0"/>
              <a:t>데이터셋 이용</a:t>
            </a:r>
            <a:r>
              <a:rPr lang="en-US" altLang="ko-KR" sz="2200" dirty="0"/>
              <a:t>(0~9)</a:t>
            </a:r>
          </a:p>
          <a:p>
            <a:endParaRPr lang="en-US" altLang="ko-KR" sz="2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3547698-CD22-434C-B5D4-222D6F3585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2" r="2344"/>
          <a:stretch/>
        </p:blipFill>
        <p:spPr>
          <a:xfrm>
            <a:off x="8428532" y="2151126"/>
            <a:ext cx="3366783" cy="349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02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 err="1"/>
              <a:t>케라스에서</a:t>
            </a:r>
            <a:r>
              <a:rPr lang="ko-KR" altLang="en-US" sz="4000" dirty="0"/>
              <a:t> </a:t>
            </a:r>
            <a:r>
              <a:rPr lang="en-US" altLang="ko-KR" sz="4000" dirty="0"/>
              <a:t>MNIST </a:t>
            </a:r>
            <a:r>
              <a:rPr lang="ko-KR" altLang="en-US" sz="4000" dirty="0"/>
              <a:t>데이터셋 적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6013642" cy="3435531"/>
          </a:xfrm>
        </p:spPr>
        <p:txBody>
          <a:bodyPr anchor="ctr">
            <a:normAutofit/>
          </a:bodyPr>
          <a:lstStyle/>
          <a:p>
            <a:r>
              <a:rPr lang="en-US" altLang="ko-KR" sz="1800" dirty="0"/>
              <a:t>MNIST </a:t>
            </a:r>
            <a:r>
              <a:rPr lang="ko-KR" altLang="en-US" sz="1800" dirty="0"/>
              <a:t>데이터셋은 </a:t>
            </a:r>
            <a:r>
              <a:rPr lang="ko-KR" altLang="en-US" sz="1800" dirty="0" err="1"/>
              <a:t>넘파이</a:t>
            </a:r>
            <a:r>
              <a:rPr lang="ko-KR" altLang="en-US" sz="1800" dirty="0"/>
              <a:t> 배열 형태로 </a:t>
            </a:r>
            <a:r>
              <a:rPr lang="en-US" altLang="ko-KR" sz="1800" dirty="0" err="1"/>
              <a:t>Keras</a:t>
            </a:r>
            <a:r>
              <a:rPr lang="ko-KR" altLang="en-US" sz="1800" dirty="0"/>
              <a:t>에 포함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en-US" altLang="ko-KR" sz="1800" dirty="0" err="1"/>
              <a:t>train_image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train_lable</a:t>
            </a:r>
            <a:r>
              <a:rPr lang="ko-KR" altLang="en-US" sz="1800" dirty="0"/>
              <a:t>이 훈련세트</a:t>
            </a:r>
            <a:r>
              <a:rPr lang="en-US" altLang="ko-KR" sz="1800" dirty="0"/>
              <a:t>, 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en-US" altLang="ko-KR" sz="1800" dirty="0" err="1"/>
              <a:t>test_image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test_lable</a:t>
            </a:r>
            <a:r>
              <a:rPr lang="ko-KR" altLang="en-US" sz="1800" dirty="0"/>
              <a:t>이 테스트 세트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  <a:p>
            <a:r>
              <a:rPr lang="ko-KR" altLang="en-US" sz="1800" dirty="0"/>
              <a:t>이미지는 </a:t>
            </a:r>
            <a:r>
              <a:rPr lang="ko-KR" altLang="en-US" sz="1800" dirty="0" err="1"/>
              <a:t>넘파이</a:t>
            </a:r>
            <a:r>
              <a:rPr lang="ko-KR" altLang="en-US" sz="1800" dirty="0"/>
              <a:t> 배열</a:t>
            </a:r>
            <a:r>
              <a:rPr lang="en-US" altLang="ko-KR" sz="1800" dirty="0"/>
              <a:t>, </a:t>
            </a:r>
            <a:r>
              <a:rPr lang="ko-KR" altLang="en-US" sz="1800" dirty="0"/>
              <a:t>레이블은 숫자배열</a:t>
            </a:r>
            <a:r>
              <a:rPr lang="en-US" altLang="ko-KR" sz="1800" dirty="0"/>
              <a:t>(0~9)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ko-KR" altLang="en-US" sz="1800" dirty="0"/>
              <a:t>이미지와 레이블은 일대일 관계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3D5F37B-9942-4853-8F92-A9152716D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620556"/>
            <a:ext cx="6013643" cy="713208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86725DB3-103A-443A-9DED-4EF3C1A85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1505" y="1177644"/>
            <a:ext cx="3937021" cy="522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543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/>
              <a:t>신경망 구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8" y="2967160"/>
            <a:ext cx="9892700" cy="3435531"/>
          </a:xfrm>
        </p:spPr>
        <p:txBody>
          <a:bodyPr anchor="ctr">
            <a:normAutofit/>
          </a:bodyPr>
          <a:lstStyle/>
          <a:p>
            <a:r>
              <a:rPr lang="ko-KR" altLang="en-US" sz="1800" dirty="0"/>
              <a:t>이미지에 대한 레이블을 예측하기위해 신경망 설계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신경망의 핵심구성요소는 일종의 데이터 처리 필터인 층</a:t>
            </a:r>
            <a:r>
              <a:rPr lang="en-US" altLang="ko-KR" sz="1800" dirty="0"/>
              <a:t>(layer)</a:t>
            </a:r>
            <a:r>
              <a:rPr lang="ko-KR" altLang="en-US" sz="1800" dirty="0"/>
              <a:t>으로 구성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2000" dirty="0"/>
              <a:t>MNIST</a:t>
            </a:r>
            <a:r>
              <a:rPr lang="ko-KR" altLang="en-US" sz="2000" dirty="0"/>
              <a:t>분류 예제에서는 </a:t>
            </a:r>
            <a:r>
              <a:rPr lang="en-US" altLang="ko-KR" sz="2000" dirty="0"/>
              <a:t>2</a:t>
            </a:r>
            <a:r>
              <a:rPr lang="ko-KR" altLang="en-US" sz="2000" dirty="0"/>
              <a:t>개의 </a:t>
            </a:r>
            <a:r>
              <a:rPr lang="en-US" altLang="ko-KR" sz="2000" dirty="0"/>
              <a:t>Dense</a:t>
            </a:r>
            <a:r>
              <a:rPr lang="ko-KR" altLang="en-US" sz="2000" dirty="0"/>
              <a:t>층이 사용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46F31DA-27CB-4408-B06D-1C504B3169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243074"/>
            <a:ext cx="7905750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170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/>
              <a:t>컴파일 단계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7" y="2967160"/>
            <a:ext cx="10671369" cy="3435531"/>
          </a:xfrm>
        </p:spPr>
        <p:txBody>
          <a:bodyPr anchor="ctr">
            <a:normAutofit/>
          </a:bodyPr>
          <a:lstStyle/>
          <a:p>
            <a:r>
              <a:rPr lang="ko-KR" altLang="en-US" sz="1800" dirty="0"/>
              <a:t>신경망이 훈련 준비를 마치기 위해 컴파일 단계에 포함될 세가지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1.</a:t>
            </a:r>
            <a:r>
              <a:rPr lang="ko-KR" altLang="en-US" sz="1800" dirty="0"/>
              <a:t> 손실 함수</a:t>
            </a:r>
            <a:r>
              <a:rPr lang="en-US" altLang="ko-KR" sz="1800" dirty="0"/>
              <a:t>: </a:t>
            </a:r>
            <a:r>
              <a:rPr lang="ko-KR" altLang="en-US" sz="1800" dirty="0"/>
              <a:t>훈련데이터에서 신경망의 성능을 측정하는 방법으로 </a:t>
            </a:r>
            <a:r>
              <a:rPr lang="en-US" altLang="ko-KR" sz="1800" dirty="0"/>
              <a:t> </a:t>
            </a:r>
          </a:p>
          <a:p>
            <a:pPr marL="0" indent="0">
              <a:buNone/>
            </a:pPr>
            <a:r>
              <a:rPr lang="en-US" altLang="ko-KR" sz="1800" dirty="0"/>
              <a:t>                  </a:t>
            </a:r>
            <a:r>
              <a:rPr lang="ko-KR" altLang="en-US" sz="1800" dirty="0"/>
              <a:t>네트워크가 옳은 방향으로 학습될 수 있도록 도움을 줌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2. </a:t>
            </a:r>
            <a:r>
              <a:rPr lang="ko-KR" altLang="en-US" sz="1800" dirty="0" err="1"/>
              <a:t>옵티마이저</a:t>
            </a:r>
            <a:r>
              <a:rPr lang="en-US" altLang="ko-KR" sz="1800" dirty="0"/>
              <a:t>: </a:t>
            </a:r>
            <a:r>
              <a:rPr lang="ko-KR" altLang="en-US" sz="1800" dirty="0"/>
              <a:t>입력된 데이터와 손실함수를 기반으로 네트워크를 업데이트하는 메커니즘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3. </a:t>
            </a:r>
            <a:r>
              <a:rPr lang="ko-KR" altLang="en-US" sz="1800" dirty="0"/>
              <a:t>훈련과 테스트 과정을 모니터링할 지표</a:t>
            </a:r>
            <a:r>
              <a:rPr lang="en-US" altLang="ko-KR" sz="1800" dirty="0"/>
              <a:t>: </a:t>
            </a:r>
            <a:r>
              <a:rPr lang="ko-KR" altLang="en-US" sz="1800" dirty="0"/>
              <a:t>이 예제에서는 정확도</a:t>
            </a:r>
            <a:endParaRPr lang="en-US" altLang="ko-KR" sz="20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ED27696-BD54-425B-82CD-5874A1CB0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350229"/>
            <a:ext cx="7259363" cy="124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6700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ko-KR" altLang="en-US" sz="3600"/>
              <a:t>이미지 데이터</a:t>
            </a:r>
            <a:r>
              <a:rPr lang="en-US" altLang="ko-KR" sz="3600"/>
              <a:t>, </a:t>
            </a:r>
            <a:r>
              <a:rPr lang="ko-KR" altLang="en-US" sz="3600"/>
              <a:t>레이블 준비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7706" y="1695259"/>
            <a:ext cx="5181194" cy="4517808"/>
          </a:xfrm>
        </p:spPr>
        <p:txBody>
          <a:bodyPr>
            <a:normAutofit/>
          </a:bodyPr>
          <a:lstStyle/>
          <a:p>
            <a:r>
              <a:rPr lang="ko-KR" altLang="en-US" sz="1800" dirty="0"/>
              <a:t>훈련시작 전 데이터를 네트워크에 맞는 크기로 바꾸고 정규화 해야함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Ex)</a:t>
            </a:r>
            <a:r>
              <a:rPr lang="ko-KR" altLang="en-US" sz="1800" dirty="0"/>
              <a:t> 우리의 훈련 이미지는 </a:t>
            </a:r>
            <a:r>
              <a:rPr lang="en-US" altLang="ko-KR" sz="1800" dirty="0"/>
              <a:t>[0, 255] </a:t>
            </a:r>
            <a:r>
              <a:rPr lang="ko-KR" altLang="en-US" sz="1800" dirty="0"/>
              <a:t>사이의 값인 </a:t>
            </a:r>
            <a:r>
              <a:rPr lang="en-US" altLang="ko-KR" sz="1800" dirty="0"/>
              <a:t>unit8 </a:t>
            </a:r>
            <a:r>
              <a:rPr lang="ko-KR" altLang="en-US" sz="1800" dirty="0"/>
              <a:t>타입의 </a:t>
            </a:r>
            <a:r>
              <a:rPr lang="en-US" altLang="ko-KR" sz="1800" dirty="0"/>
              <a:t>(60000, 28, 28)</a:t>
            </a:r>
            <a:r>
              <a:rPr lang="ko-KR" altLang="en-US" sz="1800" dirty="0"/>
              <a:t>크기를 가진 배열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-&gt; [0, 1] </a:t>
            </a:r>
            <a:r>
              <a:rPr lang="ko-KR" altLang="en-US" sz="1800" dirty="0"/>
              <a:t>사이의 값인</a:t>
            </a:r>
            <a:r>
              <a:rPr lang="en-US" altLang="ko-KR" sz="1800" dirty="0"/>
              <a:t> float32 </a:t>
            </a:r>
            <a:r>
              <a:rPr lang="ko-KR" altLang="en-US" sz="1800" dirty="0"/>
              <a:t>타입의 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/>
              <a:t>    (</a:t>
            </a:r>
            <a:r>
              <a:rPr lang="en-US" altLang="ko-KR" sz="1800" dirty="0"/>
              <a:t>60000, 28*28)</a:t>
            </a:r>
            <a:r>
              <a:rPr lang="ko-KR" altLang="en-US" sz="1800" dirty="0"/>
              <a:t>크기인 배열로 바꿈</a:t>
            </a:r>
            <a:endParaRPr lang="en-US" altLang="ko-KR" sz="1800" dirty="0"/>
          </a:p>
          <a:p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레이블은 범주형으로 인코딩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46F21BE-2C7B-47AB-9574-D8F3AC85B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695259"/>
            <a:ext cx="5833531" cy="1565912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4C17298-DBB7-4DA8-BC58-205AE32A0D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050744"/>
            <a:ext cx="5590645" cy="1457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9448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ko-KR" altLang="en-US" sz="3600"/>
              <a:t>훈련 후 정확도 확인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9" y="1782981"/>
            <a:ext cx="4017596" cy="4393982"/>
          </a:xfrm>
        </p:spPr>
        <p:txBody>
          <a:bodyPr>
            <a:normAutofit/>
          </a:bodyPr>
          <a:lstStyle/>
          <a:p>
            <a:r>
              <a:rPr lang="ko-KR" altLang="en-US" sz="1800" dirty="0" err="1"/>
              <a:t>케라스에서</a:t>
            </a:r>
            <a:r>
              <a:rPr lang="ko-KR" altLang="en-US" sz="1800" dirty="0"/>
              <a:t> </a:t>
            </a:r>
            <a:r>
              <a:rPr lang="en-US" altLang="ko-KR" sz="1800" dirty="0"/>
              <a:t>fit </a:t>
            </a:r>
            <a:r>
              <a:rPr lang="ko-KR" altLang="en-US" sz="1800" dirty="0"/>
              <a:t>메서드를 호출하여 훈련 데이터에 모델을 학습</a:t>
            </a:r>
            <a:endParaRPr lang="en-US" altLang="ko-KR" sz="1800" dirty="0"/>
          </a:p>
          <a:p>
            <a:r>
              <a:rPr lang="en-US" altLang="ko-KR" sz="1800" dirty="0"/>
              <a:t>-&gt; </a:t>
            </a:r>
            <a:r>
              <a:rPr lang="ko-KR" altLang="en-US" sz="1800" dirty="0"/>
              <a:t>훈련 데이터에 대한 신경망의 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       </a:t>
            </a:r>
            <a:r>
              <a:rPr lang="ko-KR" altLang="en-US" sz="1800" dirty="0"/>
              <a:t>손실과 정확도 출력</a:t>
            </a:r>
            <a:endParaRPr lang="en-US" altLang="ko-KR" sz="1800" dirty="0"/>
          </a:p>
          <a:p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테스트 세트의 정확도는 </a:t>
            </a:r>
            <a:r>
              <a:rPr lang="en-US" altLang="ko-KR" sz="1800" dirty="0"/>
              <a:t>97.8% 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ko-KR" altLang="en-US" sz="1800" dirty="0"/>
              <a:t>훈련 세트의 정확도보다 약간 낮음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-&gt; </a:t>
            </a:r>
            <a:r>
              <a:rPr lang="ko-KR" altLang="en-US" sz="1800" dirty="0"/>
              <a:t>과대적합 때문</a:t>
            </a:r>
            <a:endParaRPr lang="en-US" altLang="ko-KR" sz="18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76318D1-B060-41A7-9371-C75BF2F6CF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316" y="1108536"/>
            <a:ext cx="6253211" cy="201665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107B18F5-6BA5-42BB-A9A3-28AEAB3894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0315" y="3911997"/>
            <a:ext cx="6253212" cy="167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59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1" y="81383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023739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하드웨어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1620626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2446242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알고리즘</a:t>
              </a: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3FF9A38-CFB1-4854-A69D-92906836805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-2810" y="4868325"/>
            <a:ext cx="7334341" cy="737782"/>
            <a:chOff x="675164" y="5523581"/>
            <a:chExt cx="7092280" cy="589897"/>
          </a:xfrm>
        </p:grpSpPr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133AC174-FF9E-4BC1-B7E8-FD287B5B2BF8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27" name="평행 사변형 26">
              <a:extLst>
                <a:ext uri="{FF2B5EF4-FFF2-40B4-BE49-F238E27FC236}">
                  <a16:creationId xmlns:a16="http://schemas.microsoft.com/office/drawing/2014/main" id="{B377DC17-2D4A-4D3C-A20B-3E77EBC4D149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8" name="오각형 19">
              <a:extLst>
                <a:ext uri="{FF2B5EF4-FFF2-40B4-BE49-F238E27FC236}">
                  <a16:creationId xmlns:a16="http://schemas.microsoft.com/office/drawing/2014/main" id="{3878CC47-EA35-4BA8-86AA-CC04785776BE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2810" y="329833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2810" y="409220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00B42C4-2F2D-4D24-9A8F-04E60003621C}"/>
              </a:ext>
            </a:extLst>
          </p:cNvPr>
          <p:cNvSpPr txBox="1"/>
          <p:nvPr/>
        </p:nvSpPr>
        <p:spPr>
          <a:xfrm>
            <a:off x="1462755" y="3568508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4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새로운 투자의 바람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6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지속될까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?</a:t>
            </a:r>
            <a:endParaRPr lang="ko-KR" altLang="en-US" sz="1400" dirty="0">
              <a:solidFill>
                <a:schemeClr val="bg1"/>
              </a:solidFill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5 </a:t>
            </a:r>
            <a:r>
              <a:rPr lang="ko-KR" altLang="en-US" sz="1400" dirty="0" err="1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딥러닝의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 대중화</a:t>
            </a:r>
          </a:p>
        </p:txBody>
      </p:sp>
    </p:spTree>
    <p:extLst>
      <p:ext uri="{BB962C8B-B14F-4D97-AF65-F5344CB8AC3E}">
        <p14:creationId xmlns:p14="http://schemas.microsoft.com/office/powerpoint/2010/main" val="900316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3800" dirty="0"/>
              <a:t>개요</a:t>
            </a:r>
            <a:r>
              <a:rPr lang="en-US" altLang="ko-KR" sz="3800" dirty="0"/>
              <a:t>: </a:t>
            </a:r>
            <a:r>
              <a:rPr lang="ko-KR" altLang="en-US" sz="3800" dirty="0"/>
              <a:t>왜 </a:t>
            </a:r>
            <a:r>
              <a:rPr lang="ko-KR" altLang="en-US" sz="3800" dirty="0" err="1"/>
              <a:t>딥러닝이고</a:t>
            </a:r>
            <a:r>
              <a:rPr lang="ko-KR" altLang="en-US" sz="3800" dirty="0"/>
              <a:t> 지금일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791" y="2113734"/>
            <a:ext cx="10143668" cy="3865585"/>
          </a:xfrm>
        </p:spPr>
        <p:txBody>
          <a:bodyPr anchor="ctr">
            <a:normAutofit/>
          </a:bodyPr>
          <a:lstStyle/>
          <a:p>
            <a:r>
              <a:rPr lang="en-US" altLang="ko-KR" sz="2000" dirty="0"/>
              <a:t>2012</a:t>
            </a:r>
            <a:r>
              <a:rPr lang="ko-KR" altLang="en-US" sz="2000" dirty="0"/>
              <a:t>년 이후에 </a:t>
            </a:r>
            <a:r>
              <a:rPr lang="ko-KR" altLang="en-US" sz="2000" dirty="0" err="1"/>
              <a:t>딥러닝이</a:t>
            </a:r>
            <a:r>
              <a:rPr lang="ko-KR" altLang="en-US" sz="2000" dirty="0"/>
              <a:t> 부상한 이유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1. </a:t>
            </a:r>
            <a:r>
              <a:rPr lang="ko-KR" altLang="en-US" sz="2000" dirty="0"/>
              <a:t>하드웨어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2. </a:t>
            </a:r>
            <a:r>
              <a:rPr lang="ko-KR" altLang="en-US" sz="2000" dirty="0"/>
              <a:t>데이터셋과 벤치마크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3. </a:t>
            </a:r>
            <a:r>
              <a:rPr lang="ko-KR" altLang="en-US" sz="2000" dirty="0"/>
              <a:t>알고리즘 향상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r>
              <a:rPr lang="ko-KR" altLang="en-US" sz="2000" dirty="0"/>
              <a:t>딥러닝 분야는 이론보다 실험을 통해서 성장</a:t>
            </a:r>
            <a:r>
              <a:rPr lang="en-US" altLang="ko-KR" sz="2000" dirty="0"/>
              <a:t>-&gt; </a:t>
            </a:r>
            <a:r>
              <a:rPr lang="ko-KR" altLang="en-US" sz="2000" dirty="0"/>
              <a:t>새로운 아이디어를 실험할 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>
                <a:solidFill>
                  <a:srgbClr val="FF0000"/>
                </a:solidFill>
              </a:rPr>
              <a:t>   </a:t>
            </a:r>
            <a:r>
              <a:rPr lang="ko-KR" altLang="en-US" sz="2000" dirty="0">
                <a:solidFill>
                  <a:srgbClr val="FF0000"/>
                </a:solidFill>
              </a:rPr>
              <a:t>적절한</a:t>
            </a:r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FF0000"/>
                </a:solidFill>
              </a:rPr>
              <a:t>데이터</a:t>
            </a:r>
            <a:r>
              <a:rPr lang="ko-KR" altLang="en-US" sz="2000" dirty="0"/>
              <a:t>와 </a:t>
            </a:r>
            <a:r>
              <a:rPr lang="ko-KR" altLang="en-US" sz="2000" dirty="0">
                <a:solidFill>
                  <a:srgbClr val="FF0000"/>
                </a:solidFill>
              </a:rPr>
              <a:t>고성능 하드웨어</a:t>
            </a:r>
            <a:r>
              <a:rPr lang="ko-KR" altLang="en-US" sz="2000" dirty="0"/>
              <a:t>가 있어야 </a:t>
            </a:r>
            <a:r>
              <a:rPr lang="ko-KR" altLang="en-US" sz="2000" dirty="0">
                <a:solidFill>
                  <a:srgbClr val="FF0000"/>
                </a:solidFill>
              </a:rPr>
              <a:t>알고리즘이 발전</a:t>
            </a:r>
            <a:r>
              <a:rPr lang="ko-KR" altLang="en-US" sz="2000" dirty="0"/>
              <a:t>할 수 있음</a:t>
            </a:r>
            <a:r>
              <a:rPr lang="en-US" altLang="ko-KR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20615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1 </a:t>
            </a:r>
            <a:r>
              <a:rPr lang="ko-KR" altLang="en-US" sz="4000" dirty="0"/>
              <a:t>하드웨어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하드웨어의 발달로 일반적인 노트북에서도 딥러닝 모델 수행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CPU</a:t>
            </a:r>
            <a:r>
              <a:rPr lang="ko-KR" altLang="en-US" sz="2200" dirty="0"/>
              <a:t>를 넘어선 </a:t>
            </a:r>
            <a:r>
              <a:rPr lang="en-US" altLang="ko-KR" sz="2200" dirty="0"/>
              <a:t>GPU</a:t>
            </a:r>
            <a:r>
              <a:rPr lang="ko-KR" altLang="en-US" sz="2200" dirty="0"/>
              <a:t>를 이용하여 많은 수의 간단한 행렬 곱셈으로 구성된 심층 신경망도 높은 수준으로 병렬화 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딥러닝 산업은 </a:t>
            </a:r>
            <a:r>
              <a:rPr lang="en-US" altLang="ko-KR" sz="2200" dirty="0"/>
              <a:t>GPU</a:t>
            </a:r>
            <a:r>
              <a:rPr lang="ko-KR" altLang="en-US" sz="2200" dirty="0"/>
              <a:t>를 넘어선 더 효율적이고 특화된 </a:t>
            </a:r>
            <a:r>
              <a:rPr lang="en-US" altLang="ko-KR" sz="2200" dirty="0"/>
              <a:t>TPU </a:t>
            </a:r>
            <a:r>
              <a:rPr lang="ko-KR" altLang="en-US" sz="2200" dirty="0"/>
              <a:t>설계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/>
              <a:t>즉</a:t>
            </a:r>
            <a:r>
              <a:rPr lang="en-US" altLang="ko-KR" sz="2200" dirty="0"/>
              <a:t>, </a:t>
            </a:r>
            <a:r>
              <a:rPr lang="en-US" altLang="ko-KR" sz="2200" dirty="0">
                <a:solidFill>
                  <a:srgbClr val="FF0000"/>
                </a:solidFill>
              </a:rPr>
              <a:t>GPU, TPU </a:t>
            </a:r>
            <a:r>
              <a:rPr lang="ko-KR" altLang="en-US" sz="2200" dirty="0">
                <a:solidFill>
                  <a:srgbClr val="FF0000"/>
                </a:solidFill>
              </a:rPr>
              <a:t>같은 고성능 하드웨어</a:t>
            </a:r>
            <a:r>
              <a:rPr lang="ko-KR" altLang="en-US" sz="2200" dirty="0"/>
              <a:t>가 없었다면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</a:t>
            </a:r>
            <a:r>
              <a:rPr lang="ko-KR" altLang="en-US" sz="2200" dirty="0" err="1"/>
              <a:t>딥러닝이</a:t>
            </a:r>
            <a:r>
              <a:rPr lang="ko-KR" altLang="en-US" sz="2200" dirty="0"/>
              <a:t> 발전되기 어려웠을 것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01420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2 </a:t>
            </a:r>
            <a:r>
              <a:rPr lang="ko-KR" altLang="en-US" sz="4000" dirty="0"/>
              <a:t>데이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</a:t>
            </a:r>
            <a:r>
              <a:rPr lang="en-US" altLang="ko-KR" sz="2200" dirty="0"/>
              <a:t>AI 4</a:t>
            </a:r>
            <a:r>
              <a:rPr lang="ko-KR" altLang="en-US" sz="2200" dirty="0"/>
              <a:t>차산업혁명의 증기기관이라면 데이터는 이 기관에 필요한 연료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>
                <a:solidFill>
                  <a:srgbClr val="FF0000"/>
                </a:solidFill>
              </a:rPr>
              <a:t>대량의 데이터셋</a:t>
            </a:r>
            <a:r>
              <a:rPr lang="ko-KR" altLang="en-US" sz="2200" dirty="0"/>
              <a:t>을 수집하고 배포할 수 있는 인터넷의 성장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 err="1"/>
              <a:t>예를들어</a:t>
            </a:r>
            <a:r>
              <a:rPr lang="ko-KR" altLang="en-US" sz="2200" dirty="0"/>
              <a:t> </a:t>
            </a:r>
            <a:r>
              <a:rPr lang="en-US" altLang="ko-KR" sz="2200" dirty="0"/>
              <a:t>ImageNet </a:t>
            </a:r>
            <a:r>
              <a:rPr lang="ko-KR" altLang="en-US" sz="2200" dirty="0"/>
              <a:t>데이터셋</a:t>
            </a:r>
            <a:r>
              <a:rPr lang="en-US" altLang="ko-KR" sz="2200" dirty="0"/>
              <a:t>(1400</a:t>
            </a:r>
            <a:r>
              <a:rPr lang="ko-KR" altLang="en-US" sz="2200" dirty="0"/>
              <a:t>만개의 이미지를 </a:t>
            </a:r>
            <a:r>
              <a:rPr lang="en-US" altLang="ko-KR" sz="2200" dirty="0"/>
              <a:t>1000</a:t>
            </a:r>
            <a:r>
              <a:rPr lang="ko-KR" altLang="en-US" sz="2200" dirty="0"/>
              <a:t>개의 범주로 구분</a:t>
            </a:r>
            <a:r>
              <a:rPr lang="en-US" altLang="ko-KR" sz="2200" dirty="0"/>
              <a:t>)</a:t>
            </a:r>
            <a:r>
              <a:rPr lang="ko-KR" altLang="en-US" sz="2200" dirty="0"/>
              <a:t>은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성장을 이끈 촉매제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278223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3 </a:t>
            </a:r>
            <a:r>
              <a:rPr lang="ko-KR" altLang="en-US" sz="4000" dirty="0"/>
              <a:t>알고리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초기에는 하나 또는 </a:t>
            </a:r>
            <a:r>
              <a:rPr lang="en-US" altLang="ko-KR" sz="2200" dirty="0"/>
              <a:t>2</a:t>
            </a:r>
            <a:r>
              <a:rPr lang="ko-KR" altLang="en-US" sz="2200" dirty="0"/>
              <a:t>개의 층만 사용하는 얕은 신경망만 사용</a:t>
            </a:r>
            <a:endParaRPr lang="en-US" altLang="ko-KR" sz="2200" dirty="0"/>
          </a:p>
          <a:p>
            <a:r>
              <a:rPr lang="ko-KR" altLang="en-US" sz="2200" dirty="0"/>
              <a:t>시간이 지남에 따라 </a:t>
            </a:r>
            <a:r>
              <a:rPr lang="ko-KR" altLang="en-US" sz="2200" dirty="0">
                <a:solidFill>
                  <a:srgbClr val="FF0000"/>
                </a:solidFill>
              </a:rPr>
              <a:t>중요한 알고리즘이 개선</a:t>
            </a:r>
            <a:endParaRPr lang="en-US" altLang="ko-KR" sz="22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/>
              <a:t>깊게 쌓은 층을 통과해서 </a:t>
            </a:r>
            <a:r>
              <a:rPr lang="ko-KR" altLang="en-US" sz="2200" dirty="0" err="1"/>
              <a:t>그래디언트를</a:t>
            </a:r>
            <a:r>
              <a:rPr lang="ko-KR" altLang="en-US" sz="2200" dirty="0"/>
              <a:t> 잘 전파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활성화 함수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가중치 초기화 방법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최적화 방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러한 방법</a:t>
            </a:r>
            <a:r>
              <a:rPr lang="en-US" altLang="ko-KR" sz="2200" dirty="0"/>
              <a:t>(</a:t>
            </a:r>
            <a:r>
              <a:rPr lang="ko-KR" altLang="en-US" sz="2200" dirty="0"/>
              <a:t>알고리즘</a:t>
            </a:r>
            <a:r>
              <a:rPr lang="en-US" altLang="ko-KR" sz="2200" dirty="0"/>
              <a:t>)</a:t>
            </a:r>
            <a:r>
              <a:rPr lang="ko-KR" altLang="en-US" sz="2200" dirty="0"/>
              <a:t>들이 발전함에 따라 딥러닝 심층 신경망을 더 잘 설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6469912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4 </a:t>
            </a:r>
            <a:r>
              <a:rPr lang="ko-KR" altLang="en-US" sz="4000" dirty="0"/>
              <a:t>새로운 투자의 바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컴퓨터 비전과 지각에 관련된 모든 문제에서 </a:t>
            </a: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최고의 성능을 보이자</a:t>
            </a:r>
            <a:r>
              <a:rPr lang="en-US" altLang="ko-KR" sz="2200" dirty="0"/>
              <a:t> </a:t>
            </a:r>
            <a:r>
              <a:rPr lang="ko-KR" altLang="en-US" sz="2200" dirty="0"/>
              <a:t>업계의 리더들이 주목</a:t>
            </a:r>
            <a:r>
              <a:rPr lang="en-US" altLang="ko-KR" sz="2200" dirty="0"/>
              <a:t>-&gt; </a:t>
            </a:r>
            <a:r>
              <a:rPr lang="ko-KR" altLang="en-US" sz="2200" dirty="0"/>
              <a:t>과거에 비한 투자가 증가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/>
              <a:t>구글은 </a:t>
            </a:r>
            <a:r>
              <a:rPr lang="en-US" altLang="ko-KR" sz="2200" dirty="0"/>
              <a:t>5</a:t>
            </a:r>
            <a:r>
              <a:rPr lang="ko-KR" altLang="en-US" sz="2200" dirty="0"/>
              <a:t>억달러에 딥러닝 스타트업 인수</a:t>
            </a: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     </a:t>
            </a:r>
            <a:r>
              <a:rPr lang="ko-KR" altLang="en-US" sz="2200" dirty="0" err="1"/>
              <a:t>바이두는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실러콘벨리에</a:t>
            </a:r>
            <a:r>
              <a:rPr lang="ko-KR" altLang="en-US" sz="2200" dirty="0"/>
              <a:t> </a:t>
            </a:r>
            <a:r>
              <a:rPr lang="en-US" altLang="ko-KR" sz="2200" dirty="0"/>
              <a:t>3</a:t>
            </a:r>
            <a:r>
              <a:rPr lang="ko-KR" altLang="en-US" sz="2200" dirty="0"/>
              <a:t>억달러 투자하여 딥러닝 연구센터 설립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</a:t>
            </a:r>
            <a:r>
              <a:rPr lang="ko-KR" altLang="en-US" sz="2200" dirty="0"/>
              <a:t>인텔은 딥러닝 하드웨어 </a:t>
            </a:r>
            <a:r>
              <a:rPr lang="ko-KR" altLang="en-US" sz="2200" dirty="0" err="1"/>
              <a:t>스타트업인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너바나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시스템즈를</a:t>
            </a:r>
            <a:r>
              <a:rPr lang="ko-KR" altLang="en-US" sz="2200" dirty="0"/>
              <a:t> </a:t>
            </a:r>
            <a:r>
              <a:rPr lang="en-US" altLang="ko-KR" sz="2200" dirty="0"/>
              <a:t>4</a:t>
            </a:r>
            <a:r>
              <a:rPr lang="ko-KR" altLang="en-US" sz="2200" dirty="0"/>
              <a:t>억 달러 인수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런 투자의 물결로 딥러닝 분야 종사자가 최근 엄청난 속도로 증가</a:t>
            </a: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696473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5 </a:t>
            </a:r>
            <a:r>
              <a:rPr lang="ko-KR" altLang="en-US" sz="4000" dirty="0" err="1"/>
              <a:t>딥러닝의</a:t>
            </a:r>
            <a:r>
              <a:rPr lang="ko-KR" altLang="en-US" sz="4000" dirty="0"/>
              <a:t> 대중화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초기에는 흔치 않은 </a:t>
            </a:r>
            <a:r>
              <a:rPr lang="en-US" altLang="ko-KR" sz="2200" dirty="0"/>
              <a:t>C++</a:t>
            </a:r>
            <a:r>
              <a:rPr lang="ko-KR" altLang="en-US" sz="2200" dirty="0"/>
              <a:t>과 </a:t>
            </a:r>
            <a:r>
              <a:rPr lang="en-US" altLang="ko-KR" sz="2200" dirty="0"/>
              <a:t>CUDA</a:t>
            </a:r>
            <a:r>
              <a:rPr lang="ko-KR" altLang="en-US" sz="2200" dirty="0"/>
              <a:t>의 전문가가 되어야 딥러닝 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But </a:t>
            </a:r>
            <a:r>
              <a:rPr lang="ko-KR" altLang="en-US" sz="2200" dirty="0"/>
              <a:t>현재는 기본 파이썬 스크립트 기술만 있으면 고수준의 딥러닝 연구 가능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 err="1"/>
              <a:t>씨아노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텐서플로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케라스</a:t>
            </a:r>
            <a:r>
              <a:rPr lang="ko-KR" altLang="en-US" sz="2200" dirty="0"/>
              <a:t> 등 딥러닝 모델을 아주 간단하게 구현할 수 있는 프레임워크</a:t>
            </a:r>
            <a:r>
              <a:rPr lang="en-US" altLang="ko-KR" sz="2200" dirty="0"/>
              <a:t>, </a:t>
            </a:r>
            <a:r>
              <a:rPr lang="ko-KR" altLang="en-US" sz="2200" dirty="0"/>
              <a:t>편의도구들이 등장</a:t>
            </a:r>
            <a:r>
              <a:rPr lang="en-US" altLang="ko-KR" sz="2200" dirty="0"/>
              <a:t>-&gt;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대중화</a:t>
            </a:r>
          </a:p>
        </p:txBody>
      </p:sp>
    </p:spTree>
    <p:extLst>
      <p:ext uri="{BB962C8B-B14F-4D97-AF65-F5344CB8AC3E}">
        <p14:creationId xmlns:p14="http://schemas.microsoft.com/office/powerpoint/2010/main" val="4723462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6 </a:t>
            </a:r>
            <a:r>
              <a:rPr lang="ko-KR" altLang="en-US" sz="4000" dirty="0"/>
              <a:t>지속될까</a:t>
            </a:r>
            <a:r>
              <a:rPr lang="en-US" altLang="ko-KR" sz="4000" dirty="0"/>
              <a:t>?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단순한 유행으로 </a:t>
            </a:r>
            <a:r>
              <a:rPr lang="ko-KR" altLang="en-US" sz="2200" dirty="0" err="1"/>
              <a:t>사라질수도있고</a:t>
            </a:r>
            <a:r>
              <a:rPr lang="en-US" altLang="ko-KR" sz="2200" dirty="0"/>
              <a:t>, </a:t>
            </a:r>
            <a:r>
              <a:rPr lang="ko-KR" altLang="en-US" sz="2200" dirty="0"/>
              <a:t>미래에도 </a:t>
            </a:r>
            <a:r>
              <a:rPr lang="ko-KR" altLang="en-US" sz="2200" dirty="0" err="1"/>
              <a:t>딥러닝을</a:t>
            </a:r>
            <a:r>
              <a:rPr lang="ko-KR" altLang="en-US" sz="2200" dirty="0"/>
              <a:t> 사용할까 의문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개념을 계속 사용할 이유가 크게 </a:t>
            </a:r>
            <a:r>
              <a:rPr lang="en-US" altLang="ko-KR" sz="2200" dirty="0"/>
              <a:t>3</a:t>
            </a:r>
            <a:r>
              <a:rPr lang="ko-KR" altLang="en-US" sz="2200" dirty="0"/>
              <a:t>가지가 있음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000" dirty="0"/>
              <a:t>단순함 </a:t>
            </a:r>
            <a:r>
              <a:rPr lang="en-US" altLang="ko-KR" sz="2000" dirty="0"/>
              <a:t>: </a:t>
            </a:r>
            <a:r>
              <a:rPr lang="ko-KR" altLang="en-US" sz="2000" dirty="0"/>
              <a:t>복잡한 엔지니어링 과정을 간단한 연산으로 모델 구현</a:t>
            </a:r>
            <a:endParaRPr lang="en-US" altLang="ko-KR" sz="2000" dirty="0"/>
          </a:p>
          <a:p>
            <a:pPr marL="457200" indent="-457200">
              <a:buAutoNum type="arabicPeriod"/>
            </a:pPr>
            <a:r>
              <a:rPr lang="ko-KR" altLang="en-US" sz="2000" dirty="0"/>
              <a:t>확장성 </a:t>
            </a:r>
            <a:r>
              <a:rPr lang="en-US" altLang="ko-KR" sz="2000" dirty="0"/>
              <a:t>: </a:t>
            </a:r>
            <a:r>
              <a:rPr lang="ko-KR" altLang="en-US" sz="2000" dirty="0"/>
              <a:t>어떤 크기의 데이터셋에서도 훈련 가능</a:t>
            </a:r>
            <a:endParaRPr lang="en-US" altLang="ko-KR" sz="2000" dirty="0"/>
          </a:p>
          <a:p>
            <a:pPr marL="457200" indent="-457200">
              <a:buAutoNum type="arabicPeriod"/>
            </a:pPr>
            <a:r>
              <a:rPr lang="ko-KR" altLang="en-US" sz="2000" dirty="0"/>
              <a:t>다용도와 재사용성 </a:t>
            </a:r>
            <a:r>
              <a:rPr lang="en-US" altLang="ko-KR" sz="2000" dirty="0"/>
              <a:t>: </a:t>
            </a:r>
            <a:r>
              <a:rPr lang="ko-KR" altLang="en-US" sz="2000" dirty="0"/>
              <a:t>추가되는 데이터로도 훈련가능</a:t>
            </a:r>
            <a:r>
              <a:rPr lang="en-US" altLang="ko-KR" sz="2000" dirty="0"/>
              <a:t>, </a:t>
            </a:r>
            <a:r>
              <a:rPr lang="ko-KR" altLang="en-US" sz="2000" dirty="0"/>
              <a:t>이전의 작업을 재활용 가능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549652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659</Words>
  <Application>Microsoft Office PowerPoint</Application>
  <PresentationFormat>와이드스크린</PresentationFormat>
  <Paragraphs>109</Paragraphs>
  <Slides>17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2" baseType="lpstr">
      <vt:lpstr>Sandoll 고딕Neo1유니코드 03 Lt</vt:lpstr>
      <vt:lpstr>Sandoll 고딕Neo2유니 06 Bd</vt:lpstr>
      <vt:lpstr>맑은 고딕</vt:lpstr>
      <vt:lpstr>Arial</vt:lpstr>
      <vt:lpstr>Office 테마</vt:lpstr>
      <vt:lpstr>PowerPoint 프레젠테이션</vt:lpstr>
      <vt:lpstr>PowerPoint 프레젠테이션</vt:lpstr>
      <vt:lpstr>개요: 왜 딥러닝이고 지금일까</vt:lpstr>
      <vt:lpstr>1.3.1 하드웨어</vt:lpstr>
      <vt:lpstr>1.3.2 데이터</vt:lpstr>
      <vt:lpstr>1.3.3 알고리즘</vt:lpstr>
      <vt:lpstr>1.3.4 새로운 투자의 바람</vt:lpstr>
      <vt:lpstr>1.3.5 딥러닝의 대중화</vt:lpstr>
      <vt:lpstr>1.3.6 지속될까?</vt:lpstr>
      <vt:lpstr>PowerPoint 프레젠테이션</vt:lpstr>
      <vt:lpstr>PowerPoint 프레젠테이션</vt:lpstr>
      <vt:lpstr>개요: 신경망과의 첫만남</vt:lpstr>
      <vt:lpstr>케라스에서 MNIST 데이터셋 적재</vt:lpstr>
      <vt:lpstr>신경망 구조</vt:lpstr>
      <vt:lpstr>컴파일 단계</vt:lpstr>
      <vt:lpstr>이미지 데이터, 레이블 준비하기</vt:lpstr>
      <vt:lpstr>훈련 후 정확도 확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 지상</dc:creator>
  <cp:lastModifiedBy>이 지상</cp:lastModifiedBy>
  <cp:revision>3</cp:revision>
  <dcterms:created xsi:type="dcterms:W3CDTF">2021-01-25T08:09:36Z</dcterms:created>
  <dcterms:modified xsi:type="dcterms:W3CDTF">2021-01-25T08:24:40Z</dcterms:modified>
</cp:coreProperties>
</file>